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media/image1.bin" ContentType="image/x-emf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0"/>
  </p:sldMasterIdLst>
  <p:notesMasterIdLst>
    <p:notesMasterId r:id="rId13"/>
  </p:notesMasterIdLst>
  <p:handoutMasterIdLst>
    <p:handoutMasterId r:id="rId14"/>
  </p:handoutMasterIdLst>
  <p:sldIdLst>
    <p:sldId id="256" r:id="rId11"/>
    <p:sldId id="257" r:id="rId1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1768BA7-1DA1-45A4-8DE2-51C6D6714D84}" v="10" dt="2022-06-09T11:57:55.17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18" autoAdjust="0"/>
    <p:restoredTop sz="86410" autoAdjust="0"/>
  </p:normalViewPr>
  <p:slideViewPr>
    <p:cSldViewPr showGuides="1">
      <p:cViewPr varScale="1">
        <p:scale>
          <a:sx n="138" d="100"/>
          <a:sy n="138" d="100"/>
        </p:scale>
        <p:origin x="672" y="1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594"/>
    </p:cViewPr>
  </p:sorterViewPr>
  <p:notesViewPr>
    <p:cSldViewPr showGuides="1">
      <p:cViewPr varScale="1">
        <p:scale>
          <a:sx n="61" d="100"/>
          <a:sy n="61" d="100"/>
        </p:scale>
        <p:origin x="3168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customXml" Target="../customXml/item7.xml"/><Relationship Id="rId12" Type="http://schemas.openxmlformats.org/officeDocument/2006/relationships/slide" Target="slides/slide2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1.xml"/><Relationship Id="rId5" Type="http://schemas.openxmlformats.org/officeDocument/2006/relationships/customXml" Target="../customXml/item5.xml"/><Relationship Id="rId15" Type="http://schemas.openxmlformats.org/officeDocument/2006/relationships/presProps" Target="presProps.xml"/><Relationship Id="rId10" Type="http://schemas.openxmlformats.org/officeDocument/2006/relationships/slideMaster" Target="slideMasters/slideMaster1.xml"/><Relationship Id="rId19" Type="http://schemas.microsoft.com/office/2016/11/relationships/changesInfo" Target="changesInfos/changesInfo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emi de Vogel" userId="5948360e-7b9c-4a22-9ada-df5e8b901c82" providerId="ADAL" clId="{662D4042-5D2C-455F-8718-7BADD92E77B3}"/>
    <pc:docChg chg="addSld delSld modSld">
      <pc:chgData name="Remi de Vogel" userId="5948360e-7b9c-4a22-9ada-df5e8b901c82" providerId="ADAL" clId="{662D4042-5D2C-455F-8718-7BADD92E77B3}" dt="2022-05-30T14:58:01.060" v="7" actId="20577"/>
      <pc:docMkLst>
        <pc:docMk/>
      </pc:docMkLst>
      <pc:sldChg chg="modSp mod">
        <pc:chgData name="Remi de Vogel" userId="5948360e-7b9c-4a22-9ada-df5e8b901c82" providerId="ADAL" clId="{662D4042-5D2C-455F-8718-7BADD92E77B3}" dt="2022-05-17T14:19:02.341" v="1" actId="20577"/>
        <pc:sldMkLst>
          <pc:docMk/>
          <pc:sldMk cId="511627541" sldId="258"/>
        </pc:sldMkLst>
        <pc:spChg chg="mod">
          <ac:chgData name="Remi de Vogel" userId="5948360e-7b9c-4a22-9ada-df5e8b901c82" providerId="ADAL" clId="{662D4042-5D2C-455F-8718-7BADD92E77B3}" dt="2022-05-17T14:19:02.341" v="1" actId="20577"/>
          <ac:spMkLst>
            <pc:docMk/>
            <pc:sldMk cId="511627541" sldId="258"/>
            <ac:spMk id="12" creationId="{74966C7F-E7A2-84BC-674A-EB82AEF4455B}"/>
          </ac:spMkLst>
        </pc:spChg>
      </pc:sldChg>
      <pc:sldChg chg="modSp mod">
        <pc:chgData name="Remi de Vogel" userId="5948360e-7b9c-4a22-9ada-df5e8b901c82" providerId="ADAL" clId="{662D4042-5D2C-455F-8718-7BADD92E77B3}" dt="2022-05-30T14:58:01.060" v="7" actId="20577"/>
        <pc:sldMkLst>
          <pc:docMk/>
          <pc:sldMk cId="2684026461" sldId="259"/>
        </pc:sldMkLst>
        <pc:spChg chg="mod">
          <ac:chgData name="Remi de Vogel" userId="5948360e-7b9c-4a22-9ada-df5e8b901c82" providerId="ADAL" clId="{662D4042-5D2C-455F-8718-7BADD92E77B3}" dt="2022-05-30T14:58:01.060" v="7" actId="20577"/>
          <ac:spMkLst>
            <pc:docMk/>
            <pc:sldMk cId="2684026461" sldId="259"/>
            <ac:spMk id="13" creationId="{633C0219-370D-A42B-DBED-40969943B164}"/>
          </ac:spMkLst>
        </pc:spChg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318149506" sldId="260"/>
        </pc:sldMkLst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4262156920" sldId="261"/>
        </pc:sldMkLst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2663600804" sldId="270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2663600804" sldId="270"/>
            <ac:spMk id="2" creationId="{12DC6BAF-B353-4711-10BC-B11D38B91FAC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3865300428" sldId="2227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3865300428" sldId="2227"/>
            <ac:spMk id="3" creationId="{31793773-E0FE-0658-F0D7-8E17BB7A5301}"/>
          </ac:spMkLst>
        </pc:spChg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3408361369" sldId="2433"/>
        </pc:sldMkLst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2099305468" sldId="2442"/>
        </pc:sldMkLst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1520137780" sldId="2451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1520137780" sldId="2451"/>
            <ac:spMk id="4" creationId="{A9AF103F-0931-7EA1-08A3-1B87ADA8CC71}"/>
          </ac:spMkLst>
        </pc:spChg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1454409230" sldId="2558"/>
        </pc:sldMkLst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3849017147" sldId="2595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3849017147" sldId="2595"/>
            <ac:spMk id="2" creationId="{CB1A63F8-D5D6-09ED-6647-EEFDC409C22E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3000248548" sldId="2794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3000248548" sldId="2794"/>
            <ac:spMk id="4" creationId="{9FF0A17E-E00D-4088-E6CE-67E2CBAD6E3F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390172150" sldId="2933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390172150" sldId="2933"/>
            <ac:spMk id="4" creationId="{7DA5B7E2-0802-7CE6-23E0-8511EC2CBA8D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241193367" sldId="2934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241193367" sldId="2934"/>
            <ac:spMk id="2" creationId="{CB8DFEA0-4356-3B8F-BAE4-EB2790C9B774}"/>
          </ac:spMkLst>
        </pc:spChg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2506249882" sldId="2937"/>
        </pc:sldMkLst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396051320" sldId="2939"/>
        </pc:sldMkLst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3776554645" sldId="2948"/>
        </pc:sldMkLst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22119692" sldId="2955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22119692" sldId="2955"/>
            <ac:spMk id="2" creationId="{D2252841-4E6A-23D3-223B-96DEE1E76FA8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3964615235" sldId="2970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3964615235" sldId="2970"/>
            <ac:spMk id="6" creationId="{BA81B842-F5A2-51C1-C23D-5D995B3B3D20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2755333530" sldId="2974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2755333530" sldId="2974"/>
            <ac:spMk id="4" creationId="{67ED370D-804E-CC38-66B2-C6A775B30595}"/>
          </ac:spMkLst>
        </pc:spChg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3235046630" sldId="3019"/>
        </pc:sldMkLst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1259782163" sldId="3027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1259782163" sldId="3027"/>
            <ac:spMk id="5" creationId="{44559578-E1A9-DD7B-A80D-74CA91C635FF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1112809783" sldId="3030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1112809783" sldId="3030"/>
            <ac:spMk id="4" creationId="{8D2AA798-44AE-2F32-A749-C8A1901117CC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2720897888" sldId="3036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2720897888" sldId="3036"/>
            <ac:spMk id="4" creationId="{B5BB23CF-2E50-9B66-5C77-37CD0721C132}"/>
          </ac:spMkLst>
        </pc:spChg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2304810836" sldId="3038"/>
        </pc:sldMkLst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4271758893" sldId="3100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4271758893" sldId="3100"/>
            <ac:spMk id="6" creationId="{9B01423A-79B5-8A6E-D0D1-8F5EDDDFA249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1447384709" sldId="3104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1447384709" sldId="3104"/>
            <ac:spMk id="2" creationId="{BBA10210-CF21-20E2-1CBB-E29B4A915C62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624668475" sldId="3105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624668475" sldId="3105"/>
            <ac:spMk id="4" creationId="{8EAEC0A4-1980-11FE-8427-076F6018BD20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3996426437" sldId="3106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3996426437" sldId="3106"/>
            <ac:spMk id="2" creationId="{05CAC58D-9374-8BE6-7813-201B4F9365B4}"/>
          </ac:spMkLst>
        </pc:spChg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3083007851" sldId="3107"/>
        </pc:sldMkLst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2950438887" sldId="3137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2950438887" sldId="3137"/>
            <ac:spMk id="5" creationId="{50C81188-CFC2-CB6F-4EC8-FD83AFBFC80A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534708183" sldId="3194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534708183" sldId="3194"/>
            <ac:spMk id="3" creationId="{6F910580-9153-EB11-2C5A-C90BB27F072D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3881246796" sldId="3204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3881246796" sldId="3204"/>
            <ac:spMk id="3" creationId="{B7B591E4-DB15-7F1D-E746-F4A83628D249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469698976" sldId="3213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469698976" sldId="3213"/>
            <ac:spMk id="5" creationId="{D8C57038-7223-D3AD-5E27-9025FF56D15B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505028935" sldId="3215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505028935" sldId="3215"/>
            <ac:spMk id="3" creationId="{7BE76B6E-DD07-0E02-603B-D0960B925DBE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864866864" sldId="3248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864866864" sldId="3248"/>
            <ac:spMk id="2" creationId="{0885D11D-A4A2-42DC-D477-02A9A83B9428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889705940" sldId="3258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889705940" sldId="3258"/>
            <ac:spMk id="6" creationId="{6948C772-A261-4A4E-8CB1-283D01554E18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3779531850" sldId="3259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3779531850" sldId="3259"/>
            <ac:spMk id="5" creationId="{193A248B-0158-B6A0-C43F-9247D3CEAA1D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494241059" sldId="3260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494241059" sldId="3260"/>
            <ac:spMk id="3" creationId="{496CAF0E-335D-369F-9233-5932FB8FE841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3879551415" sldId="3264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3879551415" sldId="3264"/>
            <ac:spMk id="2" creationId="{41FC75E8-3A59-BD45-91AB-01B2DE835D57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3594324799" sldId="3265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3594324799" sldId="3265"/>
            <ac:spMk id="2" creationId="{8FF4EDB2-C798-BC34-DEC2-0A2F6272872E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3097487593" sldId="3266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3097487593" sldId="3266"/>
            <ac:spMk id="5" creationId="{A852DFF6-DB05-CD82-297F-875D997AF2D7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1620188902" sldId="3274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1620188902" sldId="3274"/>
            <ac:spMk id="3" creationId="{A6C6986A-4F67-A28B-5CAB-7F4721464A37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718841013" sldId="3279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718841013" sldId="3279"/>
            <ac:spMk id="3" creationId="{F3C4EA7B-3EDF-F8E7-9DF8-5B325797749A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1170635335" sldId="3282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1170635335" sldId="3282"/>
            <ac:spMk id="2" creationId="{54BC8101-577C-462D-C3B6-0303843A8614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4192896799" sldId="3283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4192896799" sldId="3283"/>
            <ac:spMk id="3" creationId="{D1259672-3536-9D29-6B8A-0529955E544D}"/>
          </ac:spMkLst>
        </pc:spChg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2697482736" sldId="3288"/>
        </pc:sldMkLst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1921297198" sldId="3290"/>
        </pc:sldMkLst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2194852166" sldId="3298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2194852166" sldId="3298"/>
            <ac:spMk id="5" creationId="{7907190D-E75C-EB1B-F9A7-96B5DAB50F3C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3912589455" sldId="3300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3912589455" sldId="3300"/>
            <ac:spMk id="3" creationId="{72EB0FC6-9883-6E98-617D-D2F5CD84321A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2066331870" sldId="3301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2066331870" sldId="3301"/>
            <ac:spMk id="2" creationId="{5370FEDC-B0B9-AA5A-14A6-D0A31920A0F9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3343711196" sldId="3304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3343711196" sldId="3304"/>
            <ac:spMk id="3" creationId="{68BB3F42-C7BD-82BC-50C2-DA1DAA60A41F}"/>
          </ac:spMkLst>
        </pc:spChg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1472354284" sldId="3312"/>
        </pc:sldMkLst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2899552799" sldId="3338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2899552799" sldId="3338"/>
            <ac:spMk id="4" creationId="{FF682794-1DB7-A75F-FAC0-7505F01BC791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2398090761" sldId="3341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2398090761" sldId="3341"/>
            <ac:spMk id="4" creationId="{FBC5DF10-D640-9C23-303C-06D4CE5E7ED9}"/>
          </ac:spMkLst>
        </pc:spChg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3126572166" sldId="3345"/>
        </pc:sldMkLst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2520599578" sldId="3348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2520599578" sldId="3348"/>
            <ac:spMk id="4" creationId="{B6607C09-B0D8-3574-4101-B883774A0F3D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1006099179" sldId="3349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1006099179" sldId="3349"/>
            <ac:spMk id="4" creationId="{1C4CE385-FD60-9F6B-411C-BEFC125AA7B3}"/>
          </ac:spMkLst>
        </pc:spChg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1455400394" sldId="3354"/>
        </pc:sldMkLst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3042663647" sldId="3368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3042663647" sldId="3368"/>
            <ac:spMk id="3" creationId="{CA581542-CB79-538A-D090-2B179AB0C472}"/>
          </ac:spMkLst>
        </pc:spChg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3165234546" sldId="3374"/>
        </pc:sldMkLst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1203410125" sldId="3375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1203410125" sldId="3375"/>
            <ac:spMk id="3" creationId="{9CE35017-8210-1C0C-415C-638F54504B76}"/>
          </ac:spMkLst>
        </pc:spChg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3781992183" sldId="3394"/>
        </pc:sldMkLst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2845286037" sldId="3401"/>
        </pc:sldMkLst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44081473" sldId="3405"/>
        </pc:sldMkLst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2642110963" sldId="3417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2642110963" sldId="3417"/>
            <ac:spMk id="2" creationId="{AD493243-CA0B-2872-3702-8FEDBAFD7BE9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2097763215" sldId="2134805848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2097763215" sldId="2134805848"/>
            <ac:spMk id="5" creationId="{C5A8C382-7BBE-9E0C-98A5-155E184A4CE6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2695806262" sldId="2134805850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2695806262" sldId="2134805850"/>
            <ac:spMk id="3" creationId="{C0652C74-74AA-CE75-A45F-AD5438DE5737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1180306712" sldId="2134805851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1180306712" sldId="2134805851"/>
            <ac:spMk id="6" creationId="{B3EBFA84-A85A-66D3-F65C-72699F26A422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1818857520" sldId="2134805853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1818857520" sldId="2134805853"/>
            <ac:spMk id="2" creationId="{E7C293C2-87F1-E052-DD55-E0FF3DE48A4C}"/>
          </ac:spMkLst>
        </pc:spChg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3577376723" sldId="2134805862"/>
        </pc:sldMkLst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4201410253" sldId="2134805877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4201410253" sldId="2134805877"/>
            <ac:spMk id="4" creationId="{BEFCFCCE-FD74-D0CC-89DF-5EACB4F6F829}"/>
          </ac:spMkLst>
        </pc:spChg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444192734" sldId="2134805894"/>
        </pc:sldMkLst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2285178275" sldId="2134805896"/>
        </pc:sldMkLst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615815148" sldId="2134805900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615815148" sldId="2134805900"/>
            <ac:spMk id="4" creationId="{3EAA12A0-5CEE-7EE3-B992-6EBCD3D0750E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164583528" sldId="2134805927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164583528" sldId="2134805927"/>
            <ac:spMk id="2" creationId="{2BE4AA6E-E4B5-F38E-9017-8FA3116E92ED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2771149786" sldId="2134805929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2771149786" sldId="2134805929"/>
            <ac:spMk id="2" creationId="{E9A26449-0C25-76DE-D46D-587193A88E71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3107079863" sldId="2134805936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3107079863" sldId="2134805936"/>
            <ac:spMk id="2" creationId="{D625D8DD-082A-4DF7-6CFE-313E77E6ED4E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2944830276" sldId="2134805942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2944830276" sldId="2134805942"/>
            <ac:spMk id="2" creationId="{1A73209C-99F9-0B05-9DFC-BE62B9FC33A1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1971681297" sldId="2134805944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1971681297" sldId="2134805944"/>
            <ac:spMk id="2" creationId="{38D9FB1E-4C2A-9531-A75D-80B84C7552CC}"/>
          </ac:spMkLst>
        </pc:spChg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1937686259" sldId="2134805957"/>
        </pc:sldMkLst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1579090450" sldId="2134805969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1579090450" sldId="2134805969"/>
            <ac:spMk id="2" creationId="{3D13374D-CDB5-4B07-ADD0-F2569702FAB2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3065352262" sldId="2134805977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3065352262" sldId="2134805977"/>
            <ac:spMk id="4" creationId="{42A09A56-2DB6-342F-8745-13B7FBCEC2A9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1089137052" sldId="2134805992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1089137052" sldId="2134805992"/>
            <ac:spMk id="4" creationId="{94DB1E2D-F120-610A-0D78-7BF513DF1D26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2132252316" sldId="2145705708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2132252316" sldId="2145705708"/>
            <ac:spMk id="4" creationId="{A21EA3CC-C11F-B2E6-4793-8AEC81351DCC}"/>
          </ac:spMkLst>
        </pc:spChg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854196021" sldId="2145705718"/>
        </pc:sldMkLst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3905553784" sldId="2145705721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3905553784" sldId="2145705721"/>
            <ac:spMk id="4" creationId="{A0319790-F01A-F935-FD91-9DD2A51F5655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2945199968" sldId="2145705723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2945199968" sldId="2145705723"/>
            <ac:spMk id="4" creationId="{924F99A4-B1CB-50A3-B536-AFEF4DF3FCCD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1584325909" sldId="2145705738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1584325909" sldId="2145705738"/>
            <ac:spMk id="5" creationId="{D0444DFE-46D7-5186-2BFB-656FF6EB9677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1578508309" sldId="2145705742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1578508309" sldId="2145705742"/>
            <ac:spMk id="2" creationId="{F463BDF4-250A-6A35-6A8B-FAFFD8F741CF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3158111833" sldId="2145705745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3158111833" sldId="2145705745"/>
            <ac:spMk id="2" creationId="{6B15B957-4E25-5761-D232-85D707402B5A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1719075109" sldId="2145705746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1719075109" sldId="2145705746"/>
            <ac:spMk id="2" creationId="{A2436A24-B86A-4926-4890-8E9A6641E18F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1315178886" sldId="2145705747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1315178886" sldId="2145705747"/>
            <ac:spMk id="2" creationId="{9C334C73-7179-0E1C-9672-03291F78B21B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61536132" sldId="2145705748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61536132" sldId="2145705748"/>
            <ac:spMk id="3" creationId="{9F7BD4E3-71D6-A9CE-528A-8F5A6247389D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1763130079" sldId="2145705751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1763130079" sldId="2145705751"/>
            <ac:spMk id="4" creationId="{F72B90C5-C974-C03B-6240-A4045B5ACAD4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259465799" sldId="2145705752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259465799" sldId="2145705752"/>
            <ac:spMk id="5" creationId="{29957E34-E01D-12A9-7A24-42CCDAAF1655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2756859938" sldId="2145705753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2756859938" sldId="2145705753"/>
            <ac:spMk id="5" creationId="{92387B02-DF77-4982-BCCB-F1F78FCC9B5D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740771268" sldId="2145705754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740771268" sldId="2145705754"/>
            <ac:spMk id="2" creationId="{CA54E884-F4E5-3268-1215-5E5785E3615E}"/>
          </ac:spMkLst>
        </pc:spChg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3250400868" sldId="2145705755"/>
        </pc:sldMkLst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3156913983" sldId="2145705759"/>
        </pc:sldMkLst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3831689286" sldId="2145705762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3831689286" sldId="2145705762"/>
            <ac:spMk id="4" creationId="{740507E2-113F-1807-6261-1D7F33F88F35}"/>
          </ac:spMkLst>
        </pc:spChg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1098045612" sldId="2145705765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1098045612" sldId="2145705765"/>
            <ac:spMk id="2" creationId="{898BB45E-FD6C-A203-BB87-70D3AA4E6DDD}"/>
          </ac:spMkLst>
        </pc:spChg>
      </pc:sldChg>
      <pc:sldChg chg="add del">
        <pc:chgData name="Remi de Vogel" userId="5948360e-7b9c-4a22-9ada-df5e8b901c82" providerId="ADAL" clId="{662D4042-5D2C-455F-8718-7BADD92E77B3}" dt="2022-05-30T12:53:07.422" v="3"/>
        <pc:sldMkLst>
          <pc:docMk/>
          <pc:sldMk cId="4217213984" sldId="2145705768"/>
        </pc:sldMkLst>
      </pc:sldChg>
      <pc:sldChg chg="modSp add del">
        <pc:chgData name="Remi de Vogel" userId="5948360e-7b9c-4a22-9ada-df5e8b901c82" providerId="ADAL" clId="{662D4042-5D2C-455F-8718-7BADD92E77B3}" dt="2022-05-30T12:53:07.422" v="3"/>
        <pc:sldMkLst>
          <pc:docMk/>
          <pc:sldMk cId="1302685159" sldId="2145705769"/>
        </pc:sldMkLst>
        <pc:spChg chg="mod">
          <ac:chgData name="Remi de Vogel" userId="5948360e-7b9c-4a22-9ada-df5e8b901c82" providerId="ADAL" clId="{662D4042-5D2C-455F-8718-7BADD92E77B3}" dt="2022-05-30T12:53:05.912" v="2"/>
          <ac:spMkLst>
            <pc:docMk/>
            <pc:sldMk cId="1302685159" sldId="2145705769"/>
            <ac:spMk id="5" creationId="{30030C25-903E-CAB2-A209-36B1C9AC668E}"/>
          </ac:spMkLst>
        </pc:spChg>
      </pc:sldChg>
    </pc:docChg>
  </pc:docChgLst>
  <pc:docChgLst>
    <pc:chgData name="Remi de Vogel" userId="5948360e-7b9c-4a22-9ada-df5e8b901c82" providerId="ADAL" clId="{61768BA7-1DA1-45A4-8DE2-51C6D6714D84}"/>
    <pc:docChg chg="undo custSel modSld modMainMaster">
      <pc:chgData name="Remi de Vogel" userId="5948360e-7b9c-4a22-9ada-df5e8b901c82" providerId="ADAL" clId="{61768BA7-1DA1-45A4-8DE2-51C6D6714D84}" dt="2022-06-09T11:58:05.402" v="18" actId="20577"/>
      <pc:docMkLst>
        <pc:docMk/>
      </pc:docMkLst>
      <pc:sldChg chg="addSp delSp modSp">
        <pc:chgData name="Remi de Vogel" userId="5948360e-7b9c-4a22-9ada-df5e8b901c82" providerId="ADAL" clId="{61768BA7-1DA1-45A4-8DE2-51C6D6714D84}" dt="2022-06-09T11:57:55.174" v="16"/>
        <pc:sldMkLst>
          <pc:docMk/>
          <pc:sldMk cId="267460067" sldId="256"/>
        </pc:sldMkLst>
        <pc:spChg chg="mod">
          <ac:chgData name="Remi de Vogel" userId="5948360e-7b9c-4a22-9ada-df5e8b901c82" providerId="ADAL" clId="{61768BA7-1DA1-45A4-8DE2-51C6D6714D84}" dt="2022-06-09T11:57:55.174" v="16"/>
          <ac:spMkLst>
            <pc:docMk/>
            <pc:sldMk cId="267460067" sldId="256"/>
            <ac:spMk id="2" creationId="{856CEA5E-7EFD-2E26-FA65-1EC24008E3B6}"/>
          </ac:spMkLst>
        </pc:spChg>
        <pc:spChg chg="mod">
          <ac:chgData name="Remi de Vogel" userId="5948360e-7b9c-4a22-9ada-df5e8b901c82" providerId="ADAL" clId="{61768BA7-1DA1-45A4-8DE2-51C6D6714D84}" dt="2022-06-09T11:57:55.174" v="16"/>
          <ac:spMkLst>
            <pc:docMk/>
            <pc:sldMk cId="267460067" sldId="256"/>
            <ac:spMk id="3" creationId="{A4F6CB3A-DD4E-4088-491F-0BE56AFA9176}"/>
          </ac:spMkLst>
        </pc:spChg>
        <pc:spChg chg="add del mod">
          <ac:chgData name="Remi de Vogel" userId="5948360e-7b9c-4a22-9ada-df5e8b901c82" providerId="ADAL" clId="{61768BA7-1DA1-45A4-8DE2-51C6D6714D84}" dt="2022-06-09T11:57:20.414" v="5"/>
          <ac:spMkLst>
            <pc:docMk/>
            <pc:sldMk cId="267460067" sldId="256"/>
            <ac:spMk id="4" creationId="{A7461E1F-40AE-6E37-4E76-4390471364C8}"/>
          </ac:spMkLst>
        </pc:spChg>
        <pc:spChg chg="add del mod">
          <ac:chgData name="Remi de Vogel" userId="5948360e-7b9c-4a22-9ada-df5e8b901c82" providerId="ADAL" clId="{61768BA7-1DA1-45A4-8DE2-51C6D6714D84}" dt="2022-06-09T11:57:20.414" v="5"/>
          <ac:spMkLst>
            <pc:docMk/>
            <pc:sldMk cId="267460067" sldId="256"/>
            <ac:spMk id="5" creationId="{F457FAC7-4909-CF4F-BFCE-B139226C8CE2}"/>
          </ac:spMkLst>
        </pc:spChg>
        <pc:spChg chg="add del mod">
          <ac:chgData name="Remi de Vogel" userId="5948360e-7b9c-4a22-9ada-df5e8b901c82" providerId="ADAL" clId="{61768BA7-1DA1-45A4-8DE2-51C6D6714D84}" dt="2022-06-09T11:57:34.062" v="7"/>
          <ac:spMkLst>
            <pc:docMk/>
            <pc:sldMk cId="267460067" sldId="256"/>
            <ac:spMk id="6" creationId="{8B164D1F-C676-EA7F-34FA-D46E3DB0E97A}"/>
          </ac:spMkLst>
        </pc:spChg>
        <pc:spChg chg="add del mod">
          <ac:chgData name="Remi de Vogel" userId="5948360e-7b9c-4a22-9ada-df5e8b901c82" providerId="ADAL" clId="{61768BA7-1DA1-45A4-8DE2-51C6D6714D84}" dt="2022-06-09T11:57:34.062" v="7"/>
          <ac:spMkLst>
            <pc:docMk/>
            <pc:sldMk cId="267460067" sldId="256"/>
            <ac:spMk id="7" creationId="{D4B76955-4714-4F73-7344-19625476EBED}"/>
          </ac:spMkLst>
        </pc:spChg>
        <pc:spChg chg="add del mod">
          <ac:chgData name="Remi de Vogel" userId="5948360e-7b9c-4a22-9ada-df5e8b901c82" providerId="ADAL" clId="{61768BA7-1DA1-45A4-8DE2-51C6D6714D84}" dt="2022-06-09T11:57:34.285" v="8"/>
          <ac:spMkLst>
            <pc:docMk/>
            <pc:sldMk cId="267460067" sldId="256"/>
            <ac:spMk id="8" creationId="{ABC08A69-F15A-33F0-2881-8C1D4E7977AF}"/>
          </ac:spMkLst>
        </pc:spChg>
        <pc:spChg chg="add del mod">
          <ac:chgData name="Remi de Vogel" userId="5948360e-7b9c-4a22-9ada-df5e8b901c82" providerId="ADAL" clId="{61768BA7-1DA1-45A4-8DE2-51C6D6714D84}" dt="2022-06-09T11:57:34.285" v="8"/>
          <ac:spMkLst>
            <pc:docMk/>
            <pc:sldMk cId="267460067" sldId="256"/>
            <ac:spMk id="9" creationId="{C6623F07-4EE3-25FB-5587-096708121164}"/>
          </ac:spMkLst>
        </pc:spChg>
        <pc:spChg chg="add del mod">
          <ac:chgData name="Remi de Vogel" userId="5948360e-7b9c-4a22-9ada-df5e8b901c82" providerId="ADAL" clId="{61768BA7-1DA1-45A4-8DE2-51C6D6714D84}" dt="2022-06-09T11:57:55.030" v="15"/>
          <ac:spMkLst>
            <pc:docMk/>
            <pc:sldMk cId="267460067" sldId="256"/>
            <ac:spMk id="10" creationId="{04EBBDD2-119A-61F0-0A2A-F9672ECCBE7F}"/>
          </ac:spMkLst>
        </pc:spChg>
        <pc:spChg chg="add del mod">
          <ac:chgData name="Remi de Vogel" userId="5948360e-7b9c-4a22-9ada-df5e8b901c82" providerId="ADAL" clId="{61768BA7-1DA1-45A4-8DE2-51C6D6714D84}" dt="2022-06-09T11:57:55.030" v="15"/>
          <ac:spMkLst>
            <pc:docMk/>
            <pc:sldMk cId="267460067" sldId="256"/>
            <ac:spMk id="11" creationId="{0D454ACA-B572-9E60-3E96-125E8008615B}"/>
          </ac:spMkLst>
        </pc:spChg>
        <pc:spChg chg="add del mod">
          <ac:chgData name="Remi de Vogel" userId="5948360e-7b9c-4a22-9ada-df5e8b901c82" providerId="ADAL" clId="{61768BA7-1DA1-45A4-8DE2-51C6D6714D84}" dt="2022-06-09T11:57:55.174" v="16"/>
          <ac:spMkLst>
            <pc:docMk/>
            <pc:sldMk cId="267460067" sldId="256"/>
            <ac:spMk id="12" creationId="{A53215CD-02D2-F854-5549-B29C3F1DD47D}"/>
          </ac:spMkLst>
        </pc:spChg>
        <pc:spChg chg="add del mod">
          <ac:chgData name="Remi de Vogel" userId="5948360e-7b9c-4a22-9ada-df5e8b901c82" providerId="ADAL" clId="{61768BA7-1DA1-45A4-8DE2-51C6D6714D84}" dt="2022-06-09T11:57:55.174" v="16"/>
          <ac:spMkLst>
            <pc:docMk/>
            <pc:sldMk cId="267460067" sldId="256"/>
            <ac:spMk id="13" creationId="{48F383E7-9C40-33D1-8443-8DC3DBB679C6}"/>
          </ac:spMkLst>
        </pc:spChg>
      </pc:sldChg>
      <pc:sldChg chg="addSp delSp modSp">
        <pc:chgData name="Remi de Vogel" userId="5948360e-7b9c-4a22-9ada-df5e8b901c82" providerId="ADAL" clId="{61768BA7-1DA1-45A4-8DE2-51C6D6714D84}" dt="2022-06-09T11:57:21.841" v="6"/>
        <pc:sldMkLst>
          <pc:docMk/>
          <pc:sldMk cId="511627541" sldId="258"/>
        </pc:sldMkLst>
        <pc:spChg chg="mod">
          <ac:chgData name="Remi de Vogel" userId="5948360e-7b9c-4a22-9ada-df5e8b901c82" providerId="ADAL" clId="{61768BA7-1DA1-45A4-8DE2-51C6D6714D84}" dt="2022-06-09T11:57:21.841" v="6"/>
          <ac:spMkLst>
            <pc:docMk/>
            <pc:sldMk cId="511627541" sldId="258"/>
            <ac:spMk id="2" creationId="{936D9E45-C0E5-4345-61C2-53A4A75266A3}"/>
          </ac:spMkLst>
        </pc:spChg>
        <pc:spChg chg="mod">
          <ac:chgData name="Remi de Vogel" userId="5948360e-7b9c-4a22-9ada-df5e8b901c82" providerId="ADAL" clId="{61768BA7-1DA1-45A4-8DE2-51C6D6714D84}" dt="2022-06-09T11:57:21.841" v="6"/>
          <ac:spMkLst>
            <pc:docMk/>
            <pc:sldMk cId="511627541" sldId="258"/>
            <ac:spMk id="3" creationId="{21DE6A03-92D0-21C6-8397-EE782EE3E88E}"/>
          </ac:spMkLst>
        </pc:spChg>
        <pc:spChg chg="mod">
          <ac:chgData name="Remi de Vogel" userId="5948360e-7b9c-4a22-9ada-df5e8b901c82" providerId="ADAL" clId="{61768BA7-1DA1-45A4-8DE2-51C6D6714D84}" dt="2022-06-09T11:57:21.841" v="6"/>
          <ac:spMkLst>
            <pc:docMk/>
            <pc:sldMk cId="511627541" sldId="258"/>
            <ac:spMk id="4" creationId="{628DC984-545F-002E-1486-0212C37C6244}"/>
          </ac:spMkLst>
        </pc:spChg>
        <pc:spChg chg="add del mod">
          <ac:chgData name="Remi de Vogel" userId="5948360e-7b9c-4a22-9ada-df5e8b901c82" providerId="ADAL" clId="{61768BA7-1DA1-45A4-8DE2-51C6D6714D84}" dt="2022-06-09T11:57:21.841" v="6"/>
          <ac:spMkLst>
            <pc:docMk/>
            <pc:sldMk cId="511627541" sldId="258"/>
            <ac:spMk id="5" creationId="{BD1F2E69-7E8A-FE08-1171-1832A98AAC27}"/>
          </ac:spMkLst>
        </pc:spChg>
        <pc:spChg chg="add del mod">
          <ac:chgData name="Remi de Vogel" userId="5948360e-7b9c-4a22-9ada-df5e8b901c82" providerId="ADAL" clId="{61768BA7-1DA1-45A4-8DE2-51C6D6714D84}" dt="2022-06-09T11:57:21.841" v="6"/>
          <ac:spMkLst>
            <pc:docMk/>
            <pc:sldMk cId="511627541" sldId="258"/>
            <ac:spMk id="6" creationId="{3FB6AD8B-74F8-B896-A639-EE93D09DB2D4}"/>
          </ac:spMkLst>
        </pc:spChg>
        <pc:spChg chg="add del mod">
          <ac:chgData name="Remi de Vogel" userId="5948360e-7b9c-4a22-9ada-df5e8b901c82" providerId="ADAL" clId="{61768BA7-1DA1-45A4-8DE2-51C6D6714D84}" dt="2022-06-09T11:57:21.841" v="6"/>
          <ac:spMkLst>
            <pc:docMk/>
            <pc:sldMk cId="511627541" sldId="258"/>
            <ac:spMk id="7" creationId="{F3C071CD-9C3A-16E7-987C-201A4B180EF8}"/>
          </ac:spMkLst>
        </pc:spChg>
        <pc:spChg chg="add mod">
          <ac:chgData name="Remi de Vogel" userId="5948360e-7b9c-4a22-9ada-df5e8b901c82" providerId="ADAL" clId="{61768BA7-1DA1-45A4-8DE2-51C6D6714D84}" dt="2022-06-09T11:57:21.841" v="6"/>
          <ac:spMkLst>
            <pc:docMk/>
            <pc:sldMk cId="511627541" sldId="258"/>
            <ac:spMk id="8" creationId="{56F96447-464E-618F-77C1-855C61B2CE06}"/>
          </ac:spMkLst>
        </pc:spChg>
        <pc:spChg chg="del">
          <ac:chgData name="Remi de Vogel" userId="5948360e-7b9c-4a22-9ada-df5e8b901c82" providerId="ADAL" clId="{61768BA7-1DA1-45A4-8DE2-51C6D6714D84}" dt="2022-06-09T11:57:21.841" v="6"/>
          <ac:spMkLst>
            <pc:docMk/>
            <pc:sldMk cId="511627541" sldId="258"/>
            <ac:spMk id="9" creationId="{102D2621-9DC0-A01A-7A9C-BC099E5710E8}"/>
          </ac:spMkLst>
        </pc:spChg>
        <pc:spChg chg="add mod">
          <ac:chgData name="Remi de Vogel" userId="5948360e-7b9c-4a22-9ada-df5e8b901c82" providerId="ADAL" clId="{61768BA7-1DA1-45A4-8DE2-51C6D6714D84}" dt="2022-06-09T11:57:21.841" v="6"/>
          <ac:spMkLst>
            <pc:docMk/>
            <pc:sldMk cId="511627541" sldId="258"/>
            <ac:spMk id="10" creationId="{76824E6D-88FA-928F-B392-F391B57A4930}"/>
          </ac:spMkLst>
        </pc:spChg>
        <pc:spChg chg="add mod">
          <ac:chgData name="Remi de Vogel" userId="5948360e-7b9c-4a22-9ada-df5e8b901c82" providerId="ADAL" clId="{61768BA7-1DA1-45A4-8DE2-51C6D6714D84}" dt="2022-06-09T11:57:21.841" v="6"/>
          <ac:spMkLst>
            <pc:docMk/>
            <pc:sldMk cId="511627541" sldId="258"/>
            <ac:spMk id="11" creationId="{78E1CC87-9354-AB54-159B-8B1A2EFFE7B8}"/>
          </ac:spMkLst>
        </pc:spChg>
        <pc:spChg chg="del">
          <ac:chgData name="Remi de Vogel" userId="5948360e-7b9c-4a22-9ada-df5e8b901c82" providerId="ADAL" clId="{61768BA7-1DA1-45A4-8DE2-51C6D6714D84}" dt="2022-06-09T11:57:21.841" v="6"/>
          <ac:spMkLst>
            <pc:docMk/>
            <pc:sldMk cId="511627541" sldId="258"/>
            <ac:spMk id="12" creationId="{74966C7F-E7A2-84BC-674A-EB82AEF4455B}"/>
          </ac:spMkLst>
        </pc:spChg>
        <pc:spChg chg="del">
          <ac:chgData name="Remi de Vogel" userId="5948360e-7b9c-4a22-9ada-df5e8b901c82" providerId="ADAL" clId="{61768BA7-1DA1-45A4-8DE2-51C6D6714D84}" dt="2022-06-09T11:57:21.841" v="6"/>
          <ac:spMkLst>
            <pc:docMk/>
            <pc:sldMk cId="511627541" sldId="258"/>
            <ac:spMk id="13" creationId="{49C82FB1-4FE2-8A68-841B-6DA57C204AD3}"/>
          </ac:spMkLst>
        </pc:spChg>
        <pc:spChg chg="del">
          <ac:chgData name="Remi de Vogel" userId="5948360e-7b9c-4a22-9ada-df5e8b901c82" providerId="ADAL" clId="{61768BA7-1DA1-45A4-8DE2-51C6D6714D84}" dt="2022-06-09T11:57:21.841" v="6"/>
          <ac:spMkLst>
            <pc:docMk/>
            <pc:sldMk cId="511627541" sldId="258"/>
            <ac:spMk id="14" creationId="{41BA85AE-942D-0AAC-AD87-544A2348479B}"/>
          </ac:spMkLst>
        </pc:spChg>
        <pc:spChg chg="add mod">
          <ac:chgData name="Remi de Vogel" userId="5948360e-7b9c-4a22-9ada-df5e8b901c82" providerId="ADAL" clId="{61768BA7-1DA1-45A4-8DE2-51C6D6714D84}" dt="2022-06-09T11:57:21.841" v="6"/>
          <ac:spMkLst>
            <pc:docMk/>
            <pc:sldMk cId="511627541" sldId="258"/>
            <ac:spMk id="15" creationId="{A2CEEBDD-5C55-F7A7-00C2-C2D80D6C5A58}"/>
          </ac:spMkLst>
        </pc:spChg>
      </pc:sldChg>
      <pc:sldChg chg="addSp delSp modSp mod">
        <pc:chgData name="Remi de Vogel" userId="5948360e-7b9c-4a22-9ada-df5e8b901c82" providerId="ADAL" clId="{61768BA7-1DA1-45A4-8DE2-51C6D6714D84}" dt="2022-06-09T11:58:05.402" v="18" actId="20577"/>
        <pc:sldMkLst>
          <pc:docMk/>
          <pc:sldMk cId="2684026461" sldId="259"/>
        </pc:sldMkLst>
        <pc:spChg chg="mod">
          <ac:chgData name="Remi de Vogel" userId="5948360e-7b9c-4a22-9ada-df5e8b901c82" providerId="ADAL" clId="{61768BA7-1DA1-45A4-8DE2-51C6D6714D84}" dt="2022-06-09T11:57:18.903" v="4"/>
          <ac:spMkLst>
            <pc:docMk/>
            <pc:sldMk cId="2684026461" sldId="259"/>
            <ac:spMk id="2" creationId="{ED2FA92F-3760-F867-BBB9-E5AA1AA430A3}"/>
          </ac:spMkLst>
        </pc:spChg>
        <pc:spChg chg="add del mod">
          <ac:chgData name="Remi de Vogel" userId="5948360e-7b9c-4a22-9ada-df5e8b901c82" providerId="ADAL" clId="{61768BA7-1DA1-45A4-8DE2-51C6D6714D84}" dt="2022-06-09T11:57:18.903" v="4"/>
          <ac:spMkLst>
            <pc:docMk/>
            <pc:sldMk cId="2684026461" sldId="259"/>
            <ac:spMk id="3" creationId="{8638CF0A-A796-92D7-471A-67D17EE4F29D}"/>
          </ac:spMkLst>
        </pc:spChg>
        <pc:spChg chg="mod">
          <ac:chgData name="Remi de Vogel" userId="5948360e-7b9c-4a22-9ada-df5e8b901c82" providerId="ADAL" clId="{61768BA7-1DA1-45A4-8DE2-51C6D6714D84}" dt="2022-06-09T11:57:18.903" v="4"/>
          <ac:spMkLst>
            <pc:docMk/>
            <pc:sldMk cId="2684026461" sldId="259"/>
            <ac:spMk id="4" creationId="{C456A5FB-6679-6BF4-11DF-B137524A325E}"/>
          </ac:spMkLst>
        </pc:spChg>
        <pc:spChg chg="mod">
          <ac:chgData name="Remi de Vogel" userId="5948360e-7b9c-4a22-9ada-df5e8b901c82" providerId="ADAL" clId="{61768BA7-1DA1-45A4-8DE2-51C6D6714D84}" dt="2022-06-09T11:57:18.903" v="4"/>
          <ac:spMkLst>
            <pc:docMk/>
            <pc:sldMk cId="2684026461" sldId="259"/>
            <ac:spMk id="5" creationId="{569CD387-9D42-7928-1704-39C106FCB210}"/>
          </ac:spMkLst>
        </pc:spChg>
        <pc:spChg chg="add del mod">
          <ac:chgData name="Remi de Vogel" userId="5948360e-7b9c-4a22-9ada-df5e8b901c82" providerId="ADAL" clId="{61768BA7-1DA1-45A4-8DE2-51C6D6714D84}" dt="2022-06-09T11:57:18.903" v="4"/>
          <ac:spMkLst>
            <pc:docMk/>
            <pc:sldMk cId="2684026461" sldId="259"/>
            <ac:spMk id="6" creationId="{C242766B-A78D-275C-E0E2-5F171F507BEF}"/>
          </ac:spMkLst>
        </pc:spChg>
        <pc:spChg chg="add del mod">
          <ac:chgData name="Remi de Vogel" userId="5948360e-7b9c-4a22-9ada-df5e8b901c82" providerId="ADAL" clId="{61768BA7-1DA1-45A4-8DE2-51C6D6714D84}" dt="2022-06-09T11:57:18.903" v="4"/>
          <ac:spMkLst>
            <pc:docMk/>
            <pc:sldMk cId="2684026461" sldId="259"/>
            <ac:spMk id="7" creationId="{6675C1C0-56C6-A3FC-F45F-D801CF05133D}"/>
          </ac:spMkLst>
        </pc:spChg>
        <pc:spChg chg="add mod">
          <ac:chgData name="Remi de Vogel" userId="5948360e-7b9c-4a22-9ada-df5e8b901c82" providerId="ADAL" clId="{61768BA7-1DA1-45A4-8DE2-51C6D6714D84}" dt="2022-06-09T11:57:18.903" v="4"/>
          <ac:spMkLst>
            <pc:docMk/>
            <pc:sldMk cId="2684026461" sldId="259"/>
            <ac:spMk id="8" creationId="{C24C38AD-B3CF-4A52-FE4A-DB22644E42E1}"/>
          </ac:spMkLst>
        </pc:spChg>
        <pc:spChg chg="add mod">
          <ac:chgData name="Remi de Vogel" userId="5948360e-7b9c-4a22-9ada-df5e8b901c82" providerId="ADAL" clId="{61768BA7-1DA1-45A4-8DE2-51C6D6714D84}" dt="2022-06-09T11:58:05.402" v="18" actId="20577"/>
          <ac:spMkLst>
            <pc:docMk/>
            <pc:sldMk cId="2684026461" sldId="259"/>
            <ac:spMk id="9" creationId="{99FFE961-772C-BFBA-9A86-532291AC96F9}"/>
          </ac:spMkLst>
        </pc:spChg>
        <pc:spChg chg="del">
          <ac:chgData name="Remi de Vogel" userId="5948360e-7b9c-4a22-9ada-df5e8b901c82" providerId="ADAL" clId="{61768BA7-1DA1-45A4-8DE2-51C6D6714D84}" dt="2022-06-09T11:57:18.903" v="4"/>
          <ac:spMkLst>
            <pc:docMk/>
            <pc:sldMk cId="2684026461" sldId="259"/>
            <ac:spMk id="12" creationId="{A250C287-DE2F-C635-51BA-3AEC4F614EB2}"/>
          </ac:spMkLst>
        </pc:spChg>
        <pc:spChg chg="del">
          <ac:chgData name="Remi de Vogel" userId="5948360e-7b9c-4a22-9ada-df5e8b901c82" providerId="ADAL" clId="{61768BA7-1DA1-45A4-8DE2-51C6D6714D84}" dt="2022-06-09T11:57:18.903" v="4"/>
          <ac:spMkLst>
            <pc:docMk/>
            <pc:sldMk cId="2684026461" sldId="259"/>
            <ac:spMk id="13" creationId="{633C0219-370D-A42B-DBED-40969943B164}"/>
          </ac:spMkLst>
        </pc:spChg>
      </pc:sldChg>
      <pc:sldMasterChg chg="modSp mod modSldLayout">
        <pc:chgData name="Remi de Vogel" userId="5948360e-7b9c-4a22-9ada-df5e8b901c82" providerId="ADAL" clId="{61768BA7-1DA1-45A4-8DE2-51C6D6714D84}" dt="2022-06-09T11:57:51.106" v="14" actId="20577"/>
        <pc:sldMasterMkLst>
          <pc:docMk/>
          <pc:sldMasterMk cId="259861064" sldId="2147483648"/>
        </pc:sldMasterMkLst>
        <pc:spChg chg="mod">
          <ac:chgData name="Remi de Vogel" userId="5948360e-7b9c-4a22-9ada-df5e8b901c82" providerId="ADAL" clId="{61768BA7-1DA1-45A4-8DE2-51C6D6714D84}" dt="2022-06-09T11:56:53.547" v="2" actId="207"/>
          <ac:spMkLst>
            <pc:docMk/>
            <pc:sldMasterMk cId="259861064" sldId="2147483648"/>
            <ac:spMk id="4" creationId="{DB57928F-0394-A641-8E3E-2D180F0BE042}"/>
          </ac:spMkLst>
        </pc:spChg>
        <pc:spChg chg="mod">
          <ac:chgData name="Remi de Vogel" userId="5948360e-7b9c-4a22-9ada-df5e8b901c82" providerId="ADAL" clId="{61768BA7-1DA1-45A4-8DE2-51C6D6714D84}" dt="2022-06-09T11:56:53.547" v="2" actId="207"/>
          <ac:spMkLst>
            <pc:docMk/>
            <pc:sldMasterMk cId="259861064" sldId="2147483648"/>
            <ac:spMk id="5" creationId="{891E28BB-B5FE-E965-0E15-F1CED40AB33B}"/>
          </ac:spMkLst>
        </pc:spChg>
        <pc:sldLayoutChg chg="modSp mod">
          <pc:chgData name="Remi de Vogel" userId="5948360e-7b9c-4a22-9ada-df5e8b901c82" providerId="ADAL" clId="{61768BA7-1DA1-45A4-8DE2-51C6D6714D84}" dt="2022-06-09T11:57:51.106" v="14" actId="20577"/>
          <pc:sldLayoutMkLst>
            <pc:docMk/>
            <pc:sldMasterMk cId="259861064" sldId="2147483648"/>
            <pc:sldLayoutMk cId="2882847530" sldId="2147483728"/>
          </pc:sldLayoutMkLst>
          <pc:spChg chg="mod">
            <ac:chgData name="Remi de Vogel" userId="5948360e-7b9c-4a22-9ada-df5e8b901c82" providerId="ADAL" clId="{61768BA7-1DA1-45A4-8DE2-51C6D6714D84}" dt="2022-06-09T11:57:51.106" v="14" actId="20577"/>
            <ac:spMkLst>
              <pc:docMk/>
              <pc:sldMasterMk cId="259861064" sldId="2147483648"/>
              <pc:sldLayoutMk cId="2882847530" sldId="2147483728"/>
              <ac:spMk id="7" creationId="{02F8741F-59EA-13F5-0DE4-B32DD9F9463A}"/>
            </ac:spMkLst>
          </pc:spChg>
          <pc:spChg chg="mod">
            <ac:chgData name="Remi de Vogel" userId="5948360e-7b9c-4a22-9ada-df5e8b901c82" providerId="ADAL" clId="{61768BA7-1DA1-45A4-8DE2-51C6D6714D84}" dt="2022-06-09T11:57:50.481" v="13" actId="20577"/>
            <ac:spMkLst>
              <pc:docMk/>
              <pc:sldMasterMk cId="259861064" sldId="2147483648"/>
              <pc:sldLayoutMk cId="2882847530" sldId="2147483728"/>
              <ac:spMk id="13" creationId="{0F31288B-358A-4E1C-DD16-FE030624C9D7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76672" y="251520"/>
            <a:ext cx="29718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/>
            </a:lvl1pPr>
          </a:lstStyle>
          <a:p>
            <a:endParaRPr lang="de-DE" dirty="0">
              <a:latin typeface="AA Zuehlke" panose="02000503060000020004" pitchFamily="2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157192" y="8676456"/>
            <a:ext cx="72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5320D358-F853-4E66-A71E-3A9A01236113}" type="datetimeFigureOut">
              <a:rPr lang="de-DE" sz="800" smtClean="0">
                <a:latin typeface="AA Zuehlke" panose="02000503060000020004" pitchFamily="2" charset="0"/>
              </a:rPr>
              <a:t>29.06.2022</a:t>
            </a:fld>
            <a:endParaRPr lang="de-DE" sz="800" dirty="0">
              <a:latin typeface="AA Zuehlke" panose="02000503060000020004" pitchFamily="2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77192" y="8676456"/>
            <a:ext cx="468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/>
            </a:lvl1pPr>
          </a:lstStyle>
          <a:p>
            <a:endParaRPr lang="de-DE" sz="800" dirty="0">
              <a:latin typeface="AA Zuehlke" panose="02000503060000020004" pitchFamily="2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6021328" y="8685213"/>
            <a:ext cx="36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E5BBCCF6-F8A8-4C49-BF3D-CA1AA74CA975}" type="slidenum">
              <a:rPr lang="de-DE" sz="800" smtClean="0">
                <a:latin typeface="AA Zuehlke" panose="02000503060000020004" pitchFamily="2" charset="0"/>
              </a:rPr>
              <a:t>‹#›</a:t>
            </a:fld>
            <a:endParaRPr lang="de-DE" sz="800" dirty="0">
              <a:latin typeface="AA Zuehlke" panose="0200050306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386119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pos="302" userDrawn="1">
          <p15:clr>
            <a:srgbClr val="F26B43"/>
          </p15:clr>
        </p15:guide>
        <p15:guide id="2" pos="402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6672" y="611560"/>
            <a:ext cx="5904000" cy="3321000"/>
          </a:xfrm>
          <a:prstGeom prst="rect">
            <a:avLst/>
          </a:prstGeom>
          <a:noFill/>
          <a:ln w="6350">
            <a:solidFill>
              <a:schemeClr val="accent4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6672" y="4139952"/>
            <a:ext cx="5904000" cy="432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Kopfzeilenplatzhalter 1"/>
          <p:cNvSpPr>
            <a:spLocks noGrp="1"/>
          </p:cNvSpPr>
          <p:nvPr>
            <p:ph type="hdr" sz="quarter"/>
          </p:nvPr>
        </p:nvSpPr>
        <p:spPr>
          <a:xfrm>
            <a:off x="476672" y="251520"/>
            <a:ext cx="29718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latin typeface="AA Zuehlke" panose="02000503060000020004" pitchFamily="2" charset="0"/>
              </a:defRPr>
            </a:lvl1pPr>
          </a:lstStyle>
          <a:p>
            <a:endParaRPr lang="de-DE" sz="1000" dirty="0"/>
          </a:p>
        </p:txBody>
      </p:sp>
      <p:sp>
        <p:nvSpPr>
          <p:cNvPr id="9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157192" y="8676456"/>
            <a:ext cx="72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latin typeface="AA Zuehlke" panose="02000503060000020004" pitchFamily="2" charset="0"/>
              </a:defRPr>
            </a:lvl1pPr>
          </a:lstStyle>
          <a:p>
            <a:fld id="{5320D358-F853-4E66-A71E-3A9A01236113}" type="datetimeFigureOut">
              <a:rPr lang="de-DE" smtClean="0"/>
              <a:pPr/>
              <a:t>29.06.2022</a:t>
            </a:fld>
            <a:endParaRPr lang="de-DE" dirty="0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4"/>
          </p:nvPr>
        </p:nvSpPr>
        <p:spPr>
          <a:xfrm>
            <a:off x="477192" y="8676456"/>
            <a:ext cx="468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latin typeface="AA Zuehlke" panose="02000503060000020004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5"/>
          </p:nvPr>
        </p:nvSpPr>
        <p:spPr>
          <a:xfrm>
            <a:off x="6021328" y="8685213"/>
            <a:ext cx="36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latin typeface="AA Zuehlke" panose="02000503060000020004" pitchFamily="2" charset="0"/>
              </a:defRPr>
            </a:lvl1pPr>
          </a:lstStyle>
          <a:p>
            <a:fld id="{E5BBCCF6-F8A8-4C49-BF3D-CA1AA74CA975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61987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20000"/>
      </a:lnSpc>
      <a:spcBef>
        <a:spcPts val="1200"/>
      </a:spcBef>
      <a:spcAft>
        <a:spcPts val="200"/>
      </a:spcAft>
      <a:defRPr sz="1200" b="1" kern="1200">
        <a:solidFill>
          <a:schemeClr val="tx1"/>
        </a:solidFill>
        <a:latin typeface="AA Zuehlke" panose="02000503060000020004" pitchFamily="2" charset="0"/>
        <a:ea typeface="+mn-ea"/>
        <a:cs typeface="+mn-cs"/>
      </a:defRPr>
    </a:lvl1pPr>
    <a:lvl2pPr marL="0" algn="l" defTabSz="914400" rtl="0" eaLnBrk="1" latinLnBrk="0" hangingPunct="1">
      <a:lnSpc>
        <a:spcPct val="120000"/>
      </a:lnSpc>
      <a:spcBef>
        <a:spcPts val="100"/>
      </a:spcBef>
      <a:spcAft>
        <a:spcPts val="200"/>
      </a:spcAft>
      <a:defRPr sz="1200" kern="1200">
        <a:solidFill>
          <a:schemeClr val="tx1"/>
        </a:solidFill>
        <a:latin typeface="AA Zuehlke" panose="02000503060000020004" pitchFamily="2" charset="0"/>
        <a:ea typeface="+mn-ea"/>
        <a:cs typeface="+mn-cs"/>
      </a:defRPr>
    </a:lvl2pPr>
    <a:lvl3pPr marL="144000" indent="-144000" algn="l" defTabSz="914400" rtl="0" eaLnBrk="1" latinLnBrk="0" hangingPunct="1">
      <a:lnSpc>
        <a:spcPct val="120000"/>
      </a:lnSpc>
      <a:spcBef>
        <a:spcPts val="100"/>
      </a:spcBef>
      <a:spcAft>
        <a:spcPts val="200"/>
      </a:spcAft>
      <a:buFont typeface="Wingdings 2" panose="05020102010507070707" pitchFamily="18" charset="2"/>
      <a:buChar char="¡"/>
      <a:defRPr sz="1200" kern="1200">
        <a:solidFill>
          <a:schemeClr val="tx1"/>
        </a:solidFill>
        <a:latin typeface="AA Zuehlke" panose="02000503060000020004" pitchFamily="2" charset="0"/>
        <a:ea typeface="+mn-ea"/>
        <a:cs typeface="+mn-cs"/>
      </a:defRPr>
    </a:lvl3pPr>
    <a:lvl4pPr marL="288000" indent="-144000" algn="l" defTabSz="914400" rtl="0" eaLnBrk="1" latinLnBrk="0" hangingPunct="1">
      <a:lnSpc>
        <a:spcPct val="120000"/>
      </a:lnSpc>
      <a:spcBef>
        <a:spcPts val="100"/>
      </a:spcBef>
      <a:spcAft>
        <a:spcPts val="200"/>
      </a:spcAft>
      <a:buFont typeface="Symbol" panose="05050102010706020507" pitchFamily="18" charset="2"/>
      <a:buChar char="-"/>
      <a:defRPr sz="1200" kern="1200">
        <a:solidFill>
          <a:schemeClr val="tx1"/>
        </a:solidFill>
        <a:latin typeface="AA Zuehlke" panose="02000503060000020004" pitchFamily="2" charset="0"/>
        <a:ea typeface="+mn-ea"/>
        <a:cs typeface="+mn-cs"/>
      </a:defRPr>
    </a:lvl4pPr>
    <a:lvl5pPr marL="432000" indent="-144000" algn="l" defTabSz="914400" rtl="0" eaLnBrk="1" latinLnBrk="0" hangingPunct="1">
      <a:lnSpc>
        <a:spcPct val="120000"/>
      </a:lnSpc>
      <a:spcBef>
        <a:spcPts val="100"/>
      </a:spcBef>
      <a:spcAft>
        <a:spcPts val="200"/>
      </a:spcAft>
      <a:buFont typeface="Symbol" panose="05050102010706020507" pitchFamily="18" charset="2"/>
      <a:buChar char="-"/>
      <a:defRPr sz="1200" kern="1200">
        <a:solidFill>
          <a:schemeClr val="tx1"/>
        </a:solidFill>
        <a:latin typeface="AA Zuehlke" panose="02000503060000020004" pitchFamily="2" charset="0"/>
        <a:ea typeface="+mn-ea"/>
        <a:cs typeface="+mn-cs"/>
      </a:defRPr>
    </a:lvl5pPr>
    <a:lvl6pPr marL="576000" indent="-144000" algn="l" defTabSz="914400" rtl="0" eaLnBrk="1" latinLnBrk="0" hangingPunct="1">
      <a:lnSpc>
        <a:spcPct val="120000"/>
      </a:lnSpc>
      <a:spcBef>
        <a:spcPts val="100"/>
      </a:spcBef>
      <a:spcAft>
        <a:spcPts val="200"/>
      </a:spcAft>
      <a:buFont typeface="Symbol" panose="05050102010706020507" pitchFamily="18" charset="2"/>
      <a:buChar char="-"/>
      <a:defRPr sz="1200" kern="1200">
        <a:solidFill>
          <a:schemeClr val="tx1"/>
        </a:solidFill>
        <a:latin typeface="AA Zuehlke" panose="02000503060000020004" pitchFamily="2" charset="0"/>
        <a:ea typeface="+mn-ea"/>
        <a:cs typeface="+mn-cs"/>
      </a:defRPr>
    </a:lvl6pPr>
    <a:lvl7pPr marL="576000" indent="-144000" algn="l" defTabSz="914400" rtl="0" eaLnBrk="1" latinLnBrk="0" hangingPunct="1">
      <a:lnSpc>
        <a:spcPct val="120000"/>
      </a:lnSpc>
      <a:spcBef>
        <a:spcPts val="100"/>
      </a:spcBef>
      <a:spcAft>
        <a:spcPts val="200"/>
      </a:spcAft>
      <a:buFont typeface="Symbol" panose="05050102010706020507" pitchFamily="18" charset="2"/>
      <a:buChar char="-"/>
      <a:defRPr sz="1200" kern="1200">
        <a:solidFill>
          <a:schemeClr val="tx1"/>
        </a:solidFill>
        <a:latin typeface="AA Zuehlke" panose="02000503060000020004" pitchFamily="2" charset="0"/>
        <a:ea typeface="+mn-ea"/>
        <a:cs typeface="+mn-cs"/>
      </a:defRPr>
    </a:lvl7pPr>
    <a:lvl8pPr marL="576000" indent="-144000" algn="l" defTabSz="914400" rtl="0" eaLnBrk="1" latinLnBrk="0" hangingPunct="1">
      <a:lnSpc>
        <a:spcPct val="120000"/>
      </a:lnSpc>
      <a:spcBef>
        <a:spcPts val="100"/>
      </a:spcBef>
      <a:spcAft>
        <a:spcPts val="200"/>
      </a:spcAft>
      <a:buFont typeface="Symbol" panose="05050102010706020507" pitchFamily="18" charset="2"/>
      <a:buChar char="-"/>
      <a:defRPr sz="1200" kern="1200">
        <a:solidFill>
          <a:schemeClr val="tx1"/>
        </a:solidFill>
        <a:latin typeface="AA Zuehlke" panose="02000503060000020004" pitchFamily="2" charset="0"/>
        <a:ea typeface="+mn-ea"/>
        <a:cs typeface="+mn-cs"/>
      </a:defRPr>
    </a:lvl8pPr>
    <a:lvl9pPr marL="576000" indent="-144000" algn="l" defTabSz="914400" rtl="0" eaLnBrk="1" latinLnBrk="0" hangingPunct="1">
      <a:lnSpc>
        <a:spcPct val="120000"/>
      </a:lnSpc>
      <a:spcBef>
        <a:spcPts val="100"/>
      </a:spcBef>
      <a:spcAft>
        <a:spcPts val="200"/>
      </a:spcAft>
      <a:buFont typeface="Symbol" panose="05050102010706020507" pitchFamily="18" charset="2"/>
      <a:buChar char="-"/>
      <a:defRPr sz="1200" kern="1200">
        <a:solidFill>
          <a:schemeClr val="tx1"/>
        </a:solidFill>
        <a:latin typeface="AA Zuehlke" panose="02000503060000020004" pitchFamily="2" charset="0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302" userDrawn="1">
          <p15:clr>
            <a:srgbClr val="F26B43"/>
          </p15:clr>
        </p15:guide>
        <p15:guide id="2" pos="4021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itl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7">
            <a:extLst>
              <a:ext uri="{FF2B5EF4-FFF2-40B4-BE49-F238E27FC236}">
                <a16:creationId xmlns:a16="http://schemas.microsoft.com/office/drawing/2014/main" id="{1C582D49-A41D-BCAE-7446-41E99D56AF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19304" y="332656"/>
            <a:ext cx="5332064" cy="144016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latin typeface="+mn-lt"/>
              </a:defRPr>
            </a:lvl9pPr>
          </a:lstStyle>
          <a:p>
            <a:pPr lvl="0"/>
            <a:r>
              <a:rPr lang="en-GB" dirty="0"/>
              <a:t>Chapter navigation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66ABC4A9-8D6B-027B-8114-42EA45F8C64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14824" y="1196752"/>
            <a:ext cx="4392068" cy="1871663"/>
          </a:xfrm>
        </p:spPr>
        <p:txBody>
          <a:bodyPr anchor="b"/>
          <a:lstStyle>
            <a:lvl1pPr algn="l">
              <a:lnSpc>
                <a:spcPct val="105000"/>
              </a:lnSpc>
              <a:defRPr sz="3600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Big slide title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5C26B7FF-0ABE-3F55-D82E-B05F63265D12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 bwMode="gray">
          <a:xfrm>
            <a:off x="614824" y="3355752"/>
            <a:ext cx="4392068" cy="2810098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Subtitle or description text</a:t>
            </a:r>
          </a:p>
        </p:txBody>
      </p:sp>
      <p:sp>
        <p:nvSpPr>
          <p:cNvPr id="12" name="Date Placeholder 22">
            <a:extLst>
              <a:ext uri="{FF2B5EF4-FFF2-40B4-BE49-F238E27FC236}">
                <a16:creationId xmlns:a16="http://schemas.microsoft.com/office/drawing/2014/main" id="{5FE0601A-5AA9-EE5B-8EEC-B0BCBA50CD12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 flipV="1">
            <a:off x="619304" y="7001378"/>
            <a:ext cx="2743200" cy="3600"/>
          </a:xfrm>
        </p:spPr>
        <p:txBody>
          <a:bodyPr/>
          <a:lstStyle/>
          <a:p>
            <a:fld id="{F7589BDE-D275-48E5-9926-0260C2129B60}" type="datetime1">
              <a:rPr lang="en-US" smtClean="0"/>
              <a:pPr/>
              <a:t>6/29/2022</a:t>
            </a:fld>
            <a:endParaRPr lang="en-US"/>
          </a:p>
        </p:txBody>
      </p:sp>
      <p:sp>
        <p:nvSpPr>
          <p:cNvPr id="13" name="Footer Placeholder 23">
            <a:extLst>
              <a:ext uri="{FF2B5EF4-FFF2-40B4-BE49-F238E27FC236}">
                <a16:creationId xmlns:a16="http://schemas.microsoft.com/office/drawing/2014/main" id="{CB0E5B5D-CEF8-D6DD-F7AC-EC621AE7587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 flipV="1">
            <a:off x="3997424" y="7001378"/>
            <a:ext cx="4114800" cy="3600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Slide Number Placeholder 24">
            <a:extLst>
              <a:ext uri="{FF2B5EF4-FFF2-40B4-BE49-F238E27FC236}">
                <a16:creationId xmlns:a16="http://schemas.microsoft.com/office/drawing/2014/main" id="{6118ED22-D913-8430-ACE1-7E1CC6ED4CE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208568" y="6309320"/>
            <a:ext cx="288032" cy="144016"/>
          </a:xfrm>
        </p:spPr>
        <p:txBody>
          <a:bodyPr/>
          <a:lstStyle/>
          <a:p>
            <a:r>
              <a:rPr lang="de-DE"/>
              <a:t>| </a:t>
            </a:r>
            <a:fld id="{8CF9DE7D-F270-4E16-BA04-5BCA8969A2E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7878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7287" userDrawn="1">
          <p15:clr>
            <a:srgbClr val="C35EA4"/>
          </p15:clr>
        </p15:guide>
        <p15:guide id="4" pos="393" userDrawn="1">
          <p15:clr>
            <a:srgbClr val="C35EA4"/>
          </p15:clr>
        </p15:guide>
        <p15:guide id="5" orient="horz" pos="346" userDrawn="1">
          <p15:clr>
            <a:srgbClr val="C35EA4"/>
          </p15:clr>
        </p15:guide>
        <p15:guide id="6" orient="horz" pos="3884" userDrawn="1">
          <p15:clr>
            <a:srgbClr val="C35E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itl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19304" y="332656"/>
            <a:ext cx="5332064" cy="144016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>
                <a:latin typeface="+mn-lt"/>
              </a:defRPr>
            </a:lvl9pPr>
          </a:lstStyle>
          <a:p>
            <a:pPr lvl="0"/>
            <a:r>
              <a:rPr lang="en-US" dirty="0"/>
              <a:t>Chapter navigation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6FF0F323-E955-4EBB-A84A-C044EEAF1B3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7176540" y="1196752"/>
            <a:ext cx="4392068" cy="1871663"/>
          </a:xfrm>
        </p:spPr>
        <p:txBody>
          <a:bodyPr anchor="b"/>
          <a:lstStyle>
            <a:lvl1pPr algn="l">
              <a:lnSpc>
                <a:spcPct val="105000"/>
              </a:lnSpc>
              <a:defRPr sz="3600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Big slide title</a:t>
            </a: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6DB3F3D9-90D1-47A0-AEB4-F175E30555E6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 bwMode="gray">
          <a:xfrm>
            <a:off x="7176540" y="3355752"/>
            <a:ext cx="4392068" cy="2810098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Subtitle or description text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|  </a:t>
            </a:r>
            <a:fld id="{8FF9B0DE-3FEB-4AA0-B465-B80EF7C1333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8622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7287" userDrawn="1">
          <p15:clr>
            <a:srgbClr val="C35EA4"/>
          </p15:clr>
        </p15:guide>
        <p15:guide id="4" pos="393" userDrawn="1">
          <p15:clr>
            <a:srgbClr val="C35EA4"/>
          </p15:clr>
        </p15:guide>
        <p15:guide id="5" orient="horz" pos="346" userDrawn="1">
          <p15:clr>
            <a:srgbClr val="C35EA4"/>
          </p15:clr>
        </p15:guide>
        <p15:guide id="6" orient="horz" pos="3884" userDrawn="1">
          <p15:clr>
            <a:srgbClr val="C35E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6898AEEB-EC37-4140-99E8-7E2350EA6E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 bwMode="gray">
          <a:xfrm>
            <a:off x="623392" y="-171392"/>
            <a:ext cx="10945216" cy="72000"/>
            <a:chOff x="623392" y="5697272"/>
            <a:chExt cx="10945216" cy="180000"/>
          </a:xfrm>
        </p:grpSpPr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E8FA2B79-22D1-40B2-AB9D-AB010AF7056A}"/>
                </a:ext>
              </a:extLst>
            </p:cNvPr>
            <p:cNvGrpSpPr/>
            <p:nvPr/>
          </p:nvGrpSpPr>
          <p:grpSpPr bwMode="gray">
            <a:xfrm>
              <a:off x="623536" y="5769272"/>
              <a:ext cx="10945072" cy="36000"/>
              <a:chOff x="623536" y="4005064"/>
              <a:chExt cx="10945072" cy="576064"/>
            </a:xfrm>
            <a:solidFill>
              <a:srgbClr val="D9D9D9"/>
            </a:solidFill>
          </p:grpSpPr>
          <p:sp>
            <p:nvSpPr>
              <p:cNvPr id="47" name="Rectangle 52">
                <a:extLst>
                  <a:ext uri="{FF2B5EF4-FFF2-40B4-BE49-F238E27FC236}">
                    <a16:creationId xmlns:a16="http://schemas.microsoft.com/office/drawing/2014/main" id="{9012D874-BB13-462D-B55E-C858BBA461AF}"/>
                  </a:ext>
                </a:extLst>
              </p:cNvPr>
              <p:cNvSpPr/>
              <p:nvPr/>
            </p:nvSpPr>
            <p:spPr bwMode="gray">
              <a:xfrm>
                <a:off x="623536" y="4005064"/>
                <a:ext cx="648000" cy="576064"/>
              </a:xfrm>
              <a:prstGeom prst="rect">
                <a:avLst/>
              </a:prstGeom>
              <a:solidFill>
                <a:schemeClr val="tx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3000"/>
                  </a:lnSpc>
                </a:pPr>
                <a:endParaRPr lang="de-DE" sz="1600" spc="20" dirty="0">
                  <a:solidFill>
                    <a:schemeClr val="tx1"/>
                  </a:solidFill>
                  <a:latin typeface="AA Zuehlke" panose="02000503060000020004" pitchFamily="2" charset="0"/>
                </a:endParaRPr>
              </a:p>
            </p:txBody>
          </p:sp>
          <p:sp>
            <p:nvSpPr>
              <p:cNvPr id="48" name="Rectangle 53">
                <a:extLst>
                  <a:ext uri="{FF2B5EF4-FFF2-40B4-BE49-F238E27FC236}">
                    <a16:creationId xmlns:a16="http://schemas.microsoft.com/office/drawing/2014/main" id="{E608DABA-E295-4DEA-A06A-792BDB07FC7D}"/>
                  </a:ext>
                </a:extLst>
              </p:cNvPr>
              <p:cNvSpPr/>
              <p:nvPr/>
            </p:nvSpPr>
            <p:spPr bwMode="gray">
              <a:xfrm>
                <a:off x="1559584" y="4005064"/>
                <a:ext cx="648000" cy="576064"/>
              </a:xfrm>
              <a:prstGeom prst="rect">
                <a:avLst/>
              </a:prstGeom>
              <a:solidFill>
                <a:schemeClr val="tx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3000"/>
                  </a:lnSpc>
                </a:pPr>
                <a:endParaRPr lang="de-DE" sz="1600" spc="20" dirty="0">
                  <a:solidFill>
                    <a:schemeClr val="tx1"/>
                  </a:solidFill>
                  <a:latin typeface="AA Zuehlke" panose="02000503060000020004" pitchFamily="2" charset="0"/>
                </a:endParaRPr>
              </a:p>
            </p:txBody>
          </p:sp>
          <p:sp>
            <p:nvSpPr>
              <p:cNvPr id="49" name="Rectangle 54">
                <a:extLst>
                  <a:ext uri="{FF2B5EF4-FFF2-40B4-BE49-F238E27FC236}">
                    <a16:creationId xmlns:a16="http://schemas.microsoft.com/office/drawing/2014/main" id="{1BD8E44A-CF52-4DC4-A168-93CD88F8C8DB}"/>
                  </a:ext>
                </a:extLst>
              </p:cNvPr>
              <p:cNvSpPr/>
              <p:nvPr/>
            </p:nvSpPr>
            <p:spPr bwMode="gray">
              <a:xfrm>
                <a:off x="2495688" y="4005064"/>
                <a:ext cx="648000" cy="576064"/>
              </a:xfrm>
              <a:prstGeom prst="rect">
                <a:avLst/>
              </a:prstGeom>
              <a:solidFill>
                <a:schemeClr val="tx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3000"/>
                  </a:lnSpc>
                </a:pPr>
                <a:endParaRPr lang="de-DE" sz="1600" spc="20" dirty="0">
                  <a:solidFill>
                    <a:schemeClr val="tx1"/>
                  </a:solidFill>
                  <a:latin typeface="AA Zuehlke" panose="02000503060000020004" pitchFamily="2" charset="0"/>
                </a:endParaRPr>
              </a:p>
            </p:txBody>
          </p:sp>
          <p:sp>
            <p:nvSpPr>
              <p:cNvPr id="50" name="Rectangle 55">
                <a:extLst>
                  <a:ext uri="{FF2B5EF4-FFF2-40B4-BE49-F238E27FC236}">
                    <a16:creationId xmlns:a16="http://schemas.microsoft.com/office/drawing/2014/main" id="{C80F863D-049E-46D8-A5F9-348A04DE8FAB}"/>
                  </a:ext>
                </a:extLst>
              </p:cNvPr>
              <p:cNvSpPr/>
              <p:nvPr/>
            </p:nvSpPr>
            <p:spPr bwMode="gray">
              <a:xfrm>
                <a:off x="3431792" y="4005064"/>
                <a:ext cx="648000" cy="576064"/>
              </a:xfrm>
              <a:prstGeom prst="rect">
                <a:avLst/>
              </a:prstGeom>
              <a:solidFill>
                <a:schemeClr val="tx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3000"/>
                  </a:lnSpc>
                </a:pPr>
                <a:endParaRPr lang="de-DE" sz="1600" spc="20" dirty="0">
                  <a:solidFill>
                    <a:schemeClr val="tx1"/>
                  </a:solidFill>
                  <a:latin typeface="AA Zuehlke" panose="02000503060000020004" pitchFamily="2" charset="0"/>
                </a:endParaRPr>
              </a:p>
            </p:txBody>
          </p:sp>
          <p:sp>
            <p:nvSpPr>
              <p:cNvPr id="51" name="Rectangle 56">
                <a:extLst>
                  <a:ext uri="{FF2B5EF4-FFF2-40B4-BE49-F238E27FC236}">
                    <a16:creationId xmlns:a16="http://schemas.microsoft.com/office/drawing/2014/main" id="{BE37DCF6-FEF0-49BC-943B-B032447989BB}"/>
                  </a:ext>
                </a:extLst>
              </p:cNvPr>
              <p:cNvSpPr/>
              <p:nvPr/>
            </p:nvSpPr>
            <p:spPr bwMode="gray">
              <a:xfrm>
                <a:off x="4367896" y="4005064"/>
                <a:ext cx="648000" cy="576064"/>
              </a:xfrm>
              <a:prstGeom prst="rect">
                <a:avLst/>
              </a:prstGeom>
              <a:solidFill>
                <a:schemeClr val="tx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3000"/>
                  </a:lnSpc>
                </a:pPr>
                <a:endParaRPr lang="de-DE" sz="1600" spc="20" dirty="0">
                  <a:solidFill>
                    <a:schemeClr val="tx1"/>
                  </a:solidFill>
                  <a:latin typeface="AA Zuehlke" panose="02000503060000020004" pitchFamily="2" charset="0"/>
                </a:endParaRPr>
              </a:p>
            </p:txBody>
          </p:sp>
          <p:sp>
            <p:nvSpPr>
              <p:cNvPr id="52" name="Rectangle 57">
                <a:extLst>
                  <a:ext uri="{FF2B5EF4-FFF2-40B4-BE49-F238E27FC236}">
                    <a16:creationId xmlns:a16="http://schemas.microsoft.com/office/drawing/2014/main" id="{6DFB7014-D1B3-45BF-B4ED-8E6200D5AACB}"/>
                  </a:ext>
                </a:extLst>
              </p:cNvPr>
              <p:cNvSpPr/>
              <p:nvPr/>
            </p:nvSpPr>
            <p:spPr bwMode="gray">
              <a:xfrm>
                <a:off x="5304056" y="4005064"/>
                <a:ext cx="648000" cy="576064"/>
              </a:xfrm>
              <a:prstGeom prst="rect">
                <a:avLst/>
              </a:prstGeom>
              <a:solidFill>
                <a:schemeClr val="tx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3000"/>
                  </a:lnSpc>
                </a:pPr>
                <a:endParaRPr lang="de-DE" sz="1600" spc="20" dirty="0">
                  <a:solidFill>
                    <a:schemeClr val="tx1"/>
                  </a:solidFill>
                  <a:latin typeface="AA Zuehlke" panose="02000503060000020004" pitchFamily="2" charset="0"/>
                </a:endParaRPr>
              </a:p>
            </p:txBody>
          </p:sp>
          <p:sp>
            <p:nvSpPr>
              <p:cNvPr id="53" name="Rectangle 64">
                <a:extLst>
                  <a:ext uri="{FF2B5EF4-FFF2-40B4-BE49-F238E27FC236}">
                    <a16:creationId xmlns:a16="http://schemas.microsoft.com/office/drawing/2014/main" id="{467BF7F7-3B79-41AE-940D-115BB8BF75F4}"/>
                  </a:ext>
                </a:extLst>
              </p:cNvPr>
              <p:cNvSpPr/>
              <p:nvPr/>
            </p:nvSpPr>
            <p:spPr bwMode="gray">
              <a:xfrm>
                <a:off x="6240088" y="4005064"/>
                <a:ext cx="648000" cy="576064"/>
              </a:xfrm>
              <a:prstGeom prst="rect">
                <a:avLst/>
              </a:prstGeom>
              <a:solidFill>
                <a:schemeClr val="tx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3000"/>
                  </a:lnSpc>
                </a:pPr>
                <a:endParaRPr lang="de-DE" sz="1600" spc="20" dirty="0">
                  <a:solidFill>
                    <a:schemeClr val="tx1"/>
                  </a:solidFill>
                  <a:latin typeface="AA Zuehlke" panose="02000503060000020004" pitchFamily="2" charset="0"/>
                </a:endParaRPr>
              </a:p>
            </p:txBody>
          </p:sp>
          <p:sp>
            <p:nvSpPr>
              <p:cNvPr id="54" name="Rectangle 65">
                <a:extLst>
                  <a:ext uri="{FF2B5EF4-FFF2-40B4-BE49-F238E27FC236}">
                    <a16:creationId xmlns:a16="http://schemas.microsoft.com/office/drawing/2014/main" id="{89523DD4-1812-4D8D-8D6A-1E875B9DDEC7}"/>
                  </a:ext>
                </a:extLst>
              </p:cNvPr>
              <p:cNvSpPr/>
              <p:nvPr/>
            </p:nvSpPr>
            <p:spPr bwMode="gray">
              <a:xfrm>
                <a:off x="7176136" y="4005064"/>
                <a:ext cx="648000" cy="576064"/>
              </a:xfrm>
              <a:prstGeom prst="rect">
                <a:avLst/>
              </a:prstGeom>
              <a:solidFill>
                <a:schemeClr val="tx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3000"/>
                  </a:lnSpc>
                </a:pPr>
                <a:endParaRPr lang="de-DE" sz="1600" spc="20" dirty="0">
                  <a:solidFill>
                    <a:schemeClr val="tx1"/>
                  </a:solidFill>
                  <a:latin typeface="AA Zuehlke" panose="02000503060000020004" pitchFamily="2" charset="0"/>
                </a:endParaRPr>
              </a:p>
            </p:txBody>
          </p:sp>
          <p:sp>
            <p:nvSpPr>
              <p:cNvPr id="55" name="Rectangle 66">
                <a:extLst>
                  <a:ext uri="{FF2B5EF4-FFF2-40B4-BE49-F238E27FC236}">
                    <a16:creationId xmlns:a16="http://schemas.microsoft.com/office/drawing/2014/main" id="{8B2E08C1-5B0D-4E06-9981-3924CEF52008}"/>
                  </a:ext>
                </a:extLst>
              </p:cNvPr>
              <p:cNvSpPr/>
              <p:nvPr/>
            </p:nvSpPr>
            <p:spPr bwMode="gray">
              <a:xfrm>
                <a:off x="8112240" y="4005064"/>
                <a:ext cx="648000" cy="576064"/>
              </a:xfrm>
              <a:prstGeom prst="rect">
                <a:avLst/>
              </a:prstGeom>
              <a:solidFill>
                <a:schemeClr val="tx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3000"/>
                  </a:lnSpc>
                </a:pPr>
                <a:endParaRPr lang="de-DE" sz="1600" spc="20" dirty="0">
                  <a:solidFill>
                    <a:schemeClr val="tx1"/>
                  </a:solidFill>
                  <a:latin typeface="AA Zuehlke" panose="02000503060000020004" pitchFamily="2" charset="0"/>
                </a:endParaRPr>
              </a:p>
            </p:txBody>
          </p:sp>
          <p:sp>
            <p:nvSpPr>
              <p:cNvPr id="56" name="Rectangle 67">
                <a:extLst>
                  <a:ext uri="{FF2B5EF4-FFF2-40B4-BE49-F238E27FC236}">
                    <a16:creationId xmlns:a16="http://schemas.microsoft.com/office/drawing/2014/main" id="{35B7CC2D-A81A-499D-BBF4-7C469D2D56C8}"/>
                  </a:ext>
                </a:extLst>
              </p:cNvPr>
              <p:cNvSpPr/>
              <p:nvPr/>
            </p:nvSpPr>
            <p:spPr bwMode="gray">
              <a:xfrm>
                <a:off x="9048344" y="4005064"/>
                <a:ext cx="648000" cy="576064"/>
              </a:xfrm>
              <a:prstGeom prst="rect">
                <a:avLst/>
              </a:prstGeom>
              <a:solidFill>
                <a:schemeClr val="tx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3000"/>
                  </a:lnSpc>
                </a:pPr>
                <a:endParaRPr lang="de-DE" sz="1600" spc="20" dirty="0">
                  <a:solidFill>
                    <a:schemeClr val="tx1"/>
                  </a:solidFill>
                  <a:latin typeface="AA Zuehlke" panose="02000503060000020004" pitchFamily="2" charset="0"/>
                </a:endParaRPr>
              </a:p>
            </p:txBody>
          </p:sp>
          <p:sp>
            <p:nvSpPr>
              <p:cNvPr id="57" name="Rectangle 68">
                <a:extLst>
                  <a:ext uri="{FF2B5EF4-FFF2-40B4-BE49-F238E27FC236}">
                    <a16:creationId xmlns:a16="http://schemas.microsoft.com/office/drawing/2014/main" id="{0DEBC94D-31EE-4DF6-AB7D-D78A178606BF}"/>
                  </a:ext>
                </a:extLst>
              </p:cNvPr>
              <p:cNvSpPr/>
              <p:nvPr/>
            </p:nvSpPr>
            <p:spPr bwMode="gray">
              <a:xfrm>
                <a:off x="9984448" y="4005064"/>
                <a:ext cx="648000" cy="576064"/>
              </a:xfrm>
              <a:prstGeom prst="rect">
                <a:avLst/>
              </a:prstGeom>
              <a:solidFill>
                <a:schemeClr val="tx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3000"/>
                  </a:lnSpc>
                </a:pPr>
                <a:endParaRPr lang="de-DE" sz="1600" spc="20" dirty="0">
                  <a:solidFill>
                    <a:schemeClr val="tx1"/>
                  </a:solidFill>
                  <a:latin typeface="AA Zuehlke" panose="02000503060000020004" pitchFamily="2" charset="0"/>
                </a:endParaRPr>
              </a:p>
            </p:txBody>
          </p:sp>
          <p:sp>
            <p:nvSpPr>
              <p:cNvPr id="58" name="Rectangle 69">
                <a:extLst>
                  <a:ext uri="{FF2B5EF4-FFF2-40B4-BE49-F238E27FC236}">
                    <a16:creationId xmlns:a16="http://schemas.microsoft.com/office/drawing/2014/main" id="{A9823F67-022B-49D5-814B-133E923739F7}"/>
                  </a:ext>
                </a:extLst>
              </p:cNvPr>
              <p:cNvSpPr/>
              <p:nvPr/>
            </p:nvSpPr>
            <p:spPr bwMode="gray">
              <a:xfrm>
                <a:off x="10920608" y="4005064"/>
                <a:ext cx="648000" cy="576064"/>
              </a:xfrm>
              <a:prstGeom prst="rect">
                <a:avLst/>
              </a:prstGeom>
              <a:solidFill>
                <a:schemeClr val="tx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3000"/>
                  </a:lnSpc>
                </a:pPr>
                <a:endParaRPr lang="de-DE" sz="1600" spc="20" dirty="0">
                  <a:solidFill>
                    <a:schemeClr val="tx1"/>
                  </a:solidFill>
                  <a:latin typeface="AA Zuehlke" panose="02000503060000020004" pitchFamily="2" charset="0"/>
                </a:endParaRPr>
              </a:p>
            </p:txBody>
          </p:sp>
        </p:grp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0CCDA7D9-13C7-4560-8366-55D2313E1CF0}"/>
                </a:ext>
              </a:extLst>
            </p:cNvPr>
            <p:cNvGrpSpPr/>
            <p:nvPr/>
          </p:nvGrpSpPr>
          <p:grpSpPr bwMode="gray">
            <a:xfrm>
              <a:off x="623392" y="5697272"/>
              <a:ext cx="10945216" cy="180000"/>
              <a:chOff x="623392" y="5697272"/>
              <a:chExt cx="10945216" cy="180000"/>
            </a:xfrm>
          </p:grpSpPr>
          <p:cxnSp>
            <p:nvCxnSpPr>
              <p:cNvPr id="23" name="Gerader Verbinder 22">
                <a:extLst>
                  <a:ext uri="{FF2B5EF4-FFF2-40B4-BE49-F238E27FC236}">
                    <a16:creationId xmlns:a16="http://schemas.microsoft.com/office/drawing/2014/main" id="{F407FE5B-D105-4973-87A5-795A3C31AF0E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1271464" y="5697272"/>
                <a:ext cx="0" cy="18000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r Verbinder 23">
                <a:extLst>
                  <a:ext uri="{FF2B5EF4-FFF2-40B4-BE49-F238E27FC236}">
                    <a16:creationId xmlns:a16="http://schemas.microsoft.com/office/drawing/2014/main" id="{9764699F-8CFB-4ACC-B42C-BCFF752CC79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1559496" y="5697272"/>
                <a:ext cx="0" cy="18000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r Verbinder 24">
                <a:extLst>
                  <a:ext uri="{FF2B5EF4-FFF2-40B4-BE49-F238E27FC236}">
                    <a16:creationId xmlns:a16="http://schemas.microsoft.com/office/drawing/2014/main" id="{D90DE16E-E582-423A-893C-C107CAC25FA2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2207568" y="5697272"/>
                <a:ext cx="0" cy="18000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r Verbinder 25">
                <a:extLst>
                  <a:ext uri="{FF2B5EF4-FFF2-40B4-BE49-F238E27FC236}">
                    <a16:creationId xmlns:a16="http://schemas.microsoft.com/office/drawing/2014/main" id="{823737CC-6332-4F51-AEA6-A7BB803CC44D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2495600" y="5697272"/>
                <a:ext cx="0" cy="18000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r Verbinder 26">
                <a:extLst>
                  <a:ext uri="{FF2B5EF4-FFF2-40B4-BE49-F238E27FC236}">
                    <a16:creationId xmlns:a16="http://schemas.microsoft.com/office/drawing/2014/main" id="{910BE0AD-3160-48DB-A3DF-D5C1CE93581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3143672" y="5697272"/>
                <a:ext cx="0" cy="18000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r Verbinder 27">
                <a:extLst>
                  <a:ext uri="{FF2B5EF4-FFF2-40B4-BE49-F238E27FC236}">
                    <a16:creationId xmlns:a16="http://schemas.microsoft.com/office/drawing/2014/main" id="{48895EC1-9E0B-4F5D-AC98-CBD8C21871BE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3431704" y="5697272"/>
                <a:ext cx="0" cy="18000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r Verbinder 28">
                <a:extLst>
                  <a:ext uri="{FF2B5EF4-FFF2-40B4-BE49-F238E27FC236}">
                    <a16:creationId xmlns:a16="http://schemas.microsoft.com/office/drawing/2014/main" id="{E6B72ACB-5E7B-44AB-93D6-1FB5FCC9F36B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4079776" y="5697272"/>
                <a:ext cx="0" cy="18000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r Verbinder 29">
                <a:extLst>
                  <a:ext uri="{FF2B5EF4-FFF2-40B4-BE49-F238E27FC236}">
                    <a16:creationId xmlns:a16="http://schemas.microsoft.com/office/drawing/2014/main" id="{081A9F56-5D6C-4E12-A8A8-F9A69B1FE067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4367808" y="5697272"/>
                <a:ext cx="0" cy="18000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r Verbinder 30">
                <a:extLst>
                  <a:ext uri="{FF2B5EF4-FFF2-40B4-BE49-F238E27FC236}">
                    <a16:creationId xmlns:a16="http://schemas.microsoft.com/office/drawing/2014/main" id="{71290B6F-12D9-4AED-B88D-BCDD44703211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5015880" y="5697272"/>
                <a:ext cx="0" cy="18000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F51CE3E3-CC73-462D-85FE-B39544A0E333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5303912" y="5697272"/>
                <a:ext cx="0" cy="18000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0A6D10DF-8CBF-42D2-8F3F-083FA31F7B9D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5951984" y="5697272"/>
                <a:ext cx="0" cy="18000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9FC7E311-A9EB-4DB5-8D3F-CAD0D8E3C37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6240016" y="5697272"/>
                <a:ext cx="0" cy="18000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E51C5EEE-1CF3-464E-B5B8-A9E24EE8DDB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6888088" y="5697272"/>
                <a:ext cx="0" cy="18000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E13B9160-DD0D-47EE-BA9E-2496A2E84C38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7176120" y="5697272"/>
                <a:ext cx="0" cy="18000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>
                <a:extLst>
                  <a:ext uri="{FF2B5EF4-FFF2-40B4-BE49-F238E27FC236}">
                    <a16:creationId xmlns:a16="http://schemas.microsoft.com/office/drawing/2014/main" id="{3FB905D5-6E70-4A2D-8068-F777FEAB3E43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7824192" y="5697272"/>
                <a:ext cx="0" cy="18000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>
                <a:extLst>
                  <a:ext uri="{FF2B5EF4-FFF2-40B4-BE49-F238E27FC236}">
                    <a16:creationId xmlns:a16="http://schemas.microsoft.com/office/drawing/2014/main" id="{C7E7B001-AFB3-41C5-9C4F-06C30D012890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8112224" y="5697272"/>
                <a:ext cx="0" cy="18000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r Verbinder 38">
                <a:extLst>
                  <a:ext uri="{FF2B5EF4-FFF2-40B4-BE49-F238E27FC236}">
                    <a16:creationId xmlns:a16="http://schemas.microsoft.com/office/drawing/2014/main" id="{E1408577-E15E-4CCB-AEAD-36EB815E4113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8760296" y="5697272"/>
                <a:ext cx="0" cy="18000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r Verbinder 39">
                <a:extLst>
                  <a:ext uri="{FF2B5EF4-FFF2-40B4-BE49-F238E27FC236}">
                    <a16:creationId xmlns:a16="http://schemas.microsoft.com/office/drawing/2014/main" id="{6BFB36E6-33C2-4EF2-B4D9-E21F9F247A5A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9048328" y="5697272"/>
                <a:ext cx="0" cy="180000"/>
              </a:xfrm>
              <a:prstGeom prst="line">
                <a:avLst/>
              </a:prstGeom>
              <a:ln w="952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r Verbinder 40">
                <a:extLst>
                  <a:ext uri="{FF2B5EF4-FFF2-40B4-BE49-F238E27FC236}">
                    <a16:creationId xmlns:a16="http://schemas.microsoft.com/office/drawing/2014/main" id="{BE792A71-387F-4881-AB05-8FBBA7E5E4F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9696400" y="5697272"/>
                <a:ext cx="0" cy="18000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r Verbinder 41">
                <a:extLst>
                  <a:ext uri="{FF2B5EF4-FFF2-40B4-BE49-F238E27FC236}">
                    <a16:creationId xmlns:a16="http://schemas.microsoft.com/office/drawing/2014/main" id="{4ADCBB92-2574-4552-8666-B283549223DF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9984432" y="5697272"/>
                <a:ext cx="0" cy="18000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r Verbinder 42">
                <a:extLst>
                  <a:ext uri="{FF2B5EF4-FFF2-40B4-BE49-F238E27FC236}">
                    <a16:creationId xmlns:a16="http://schemas.microsoft.com/office/drawing/2014/main" id="{A05116D5-864A-4F4E-8C6C-F9F4543D6DE8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10632504" y="5697272"/>
                <a:ext cx="0" cy="18000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r Verbinder 43">
                <a:extLst>
                  <a:ext uri="{FF2B5EF4-FFF2-40B4-BE49-F238E27FC236}">
                    <a16:creationId xmlns:a16="http://schemas.microsoft.com/office/drawing/2014/main" id="{EB2223B8-47C4-4602-A9E4-2BD1811E57E0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10920536" y="5697272"/>
                <a:ext cx="0" cy="18000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r Verbinder 44">
                <a:extLst>
                  <a:ext uri="{FF2B5EF4-FFF2-40B4-BE49-F238E27FC236}">
                    <a16:creationId xmlns:a16="http://schemas.microsoft.com/office/drawing/2014/main" id="{AD05AAE1-D600-48F3-BD3A-1AA114A99D6E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623392" y="5697272"/>
                <a:ext cx="0" cy="18000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r Verbinder 45">
                <a:extLst>
                  <a:ext uri="{FF2B5EF4-FFF2-40B4-BE49-F238E27FC236}">
                    <a16:creationId xmlns:a16="http://schemas.microsoft.com/office/drawing/2014/main" id="{104D0A97-8556-478B-B79A-B823E7FCB530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11568608" y="5697272"/>
                <a:ext cx="0" cy="18000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AF727B06-58AC-431F-9CAE-AF9BCFE54D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 bwMode="gray">
          <a:xfrm rot="5400000">
            <a:off x="-2401455" y="3860553"/>
            <a:ext cx="4537545" cy="72026"/>
            <a:chOff x="9200728" y="-19008"/>
            <a:chExt cx="4537545" cy="72026"/>
          </a:xfrm>
        </p:grpSpPr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9FD5CF6C-298B-4377-B0AC-12445BAD8CFC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200728" y="-18982"/>
              <a:ext cx="0" cy="72000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>
              <a:extLst>
                <a:ext uri="{FF2B5EF4-FFF2-40B4-BE49-F238E27FC236}">
                  <a16:creationId xmlns:a16="http://schemas.microsoft.com/office/drawing/2014/main" id="{DD09E1CE-EB10-40C3-8DFA-2853E9733EEB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3738273" y="-19008"/>
              <a:ext cx="0" cy="72000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Year" descr="{&quot;templafy&quot;:{&quot;binding&quot;:&quot;{{FormatDateTime(Form.Date,Translate(\&quot;Format_CustomD\&quot;,UserProfile.DocumentLanguage.Language.Language),UserProfile.DocumentLanguage.Language.Language)}}&quot;,&quot;type&quot;:&quot;text&quot;}}">
            <a:extLst>
              <a:ext uri="{FF2B5EF4-FFF2-40B4-BE49-F238E27FC236}">
                <a16:creationId xmlns:a16="http://schemas.microsoft.com/office/drawing/2014/main" id="{6291DFA7-D6C9-580F-0350-7F1E3A2F4E46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1091122" y="6371819"/>
            <a:ext cx="252350" cy="144000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/>
          <a:p>
            <a:pPr marL="0" algn="l" defTabSz="914400" rtl="0" eaLnBrk="1" latinLnBrk="0" hangingPunct="1"/>
            <a:endParaRPr lang="de-CH" sz="800" kern="1200" spc="20" baseline="0" noProof="1">
              <a:solidFill>
                <a:schemeClr val="tx1"/>
              </a:solidFill>
              <a:latin typeface="AA Zuehlke" pitchFamily="2" charset="0"/>
              <a:ea typeface="+mn-ea"/>
              <a:cs typeface="+mn-cs"/>
            </a:endParaRPr>
          </a:p>
        </p:txBody>
      </p:sp>
      <p:sp>
        <p:nvSpPr>
          <p:cNvPr id="69" name="Name" descr="{&quot;templafy&quot;:{&quot;type&quot;:&quot;text&quot;,&quot;binding&quot;:&quot;{{UserProfile.Name}}&quot;}}" title="UserProfile.Name">
            <a:extLst>
              <a:ext uri="{FF2B5EF4-FFF2-40B4-BE49-F238E27FC236}">
                <a16:creationId xmlns:a16="http://schemas.microsoft.com/office/drawing/2014/main" id="{C07C95ED-9BF9-6B8B-ADC1-7714C14E9097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1561877" y="6533207"/>
            <a:ext cx="4392000" cy="144000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defPPr>
              <a:defRPr lang="de-DE"/>
            </a:defPPr>
            <a:lvl1pPr>
              <a:defRPr sz="900">
                <a:solidFill>
                  <a:srgbClr val="4D4D4D"/>
                </a:solidFill>
                <a:latin typeface="AA Zuehlke" pitchFamily="2" charset="0"/>
              </a:defRPr>
            </a:lvl1pPr>
          </a:lstStyle>
          <a:p>
            <a:pPr lvl="0"/>
            <a:endParaRPr lang="de-CH" sz="800" kern="1200" spc="20" baseline="0" noProof="1">
              <a:solidFill>
                <a:schemeClr val="tx1"/>
              </a:solidFill>
              <a:latin typeface="AA Zuehlke" pitchFamily="2" charset="0"/>
              <a:ea typeface="+mn-ea"/>
              <a:cs typeface="+mn-cs"/>
            </a:endParaRPr>
          </a:p>
        </p:txBody>
      </p:sp>
      <p:sp>
        <p:nvSpPr>
          <p:cNvPr id="70" name="Title" descr="{&quot;templafy&quot;:{&quot;type&quot;:&quot;text&quot;,&quot;binding&quot;:&quot;{{Form.Title}}&quot;}}" title="UserProfile.Name">
            <a:extLst>
              <a:ext uri="{FF2B5EF4-FFF2-40B4-BE49-F238E27FC236}">
                <a16:creationId xmlns:a16="http://schemas.microsoft.com/office/drawing/2014/main" id="{C8DCFE69-3837-4A66-A4BD-5963F21804D7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1559496" y="6371819"/>
            <a:ext cx="4392000" cy="144000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defPPr>
              <a:defRPr lang="de-DE"/>
            </a:defPPr>
            <a:lvl1pPr>
              <a:defRPr sz="900">
                <a:solidFill>
                  <a:srgbClr val="4D4D4D"/>
                </a:solidFill>
                <a:latin typeface="AA Zuehlke" pitchFamily="2" charset="0"/>
              </a:defRPr>
            </a:lvl1pPr>
          </a:lstStyle>
          <a:p>
            <a:pPr lvl="0"/>
            <a:endParaRPr lang="de-CH" sz="800" kern="1200" spc="20" baseline="0" noProof="1">
              <a:solidFill>
                <a:schemeClr val="tx1"/>
              </a:solidFill>
              <a:latin typeface="AA Zuehlke" pitchFamily="2" charset="0"/>
              <a:ea typeface="+mn-ea"/>
              <a:cs typeface="+mn-cs"/>
            </a:endParaRPr>
          </a:p>
        </p:txBody>
      </p:sp>
      <p:sp>
        <p:nvSpPr>
          <p:cNvPr id="71" name="date" descr="{&quot;templafy&quot;:{&quot;type&quot;:&quot;text&quot;,&quot;binding&quot;:&quot;{{FormatDateTime(Form.Date,Translate(\&quot;Format_CustomB\&quot;,UserProfile.DocumentLanguage.Language.Language),UserProfile.DocumentLanguage.Language.Language)}}&quot;}}">
            <a:extLst>
              <a:ext uri="{FF2B5EF4-FFF2-40B4-BE49-F238E27FC236}">
                <a16:creationId xmlns:a16="http://schemas.microsoft.com/office/drawing/2014/main" id="{9098352C-A096-9A9D-3927-BFED086CC9B4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10416480" y="6371819"/>
            <a:ext cx="679792" cy="144000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defPPr>
              <a:defRPr lang="de-DE"/>
            </a:defPPr>
            <a:lvl1pPr>
              <a:defRPr sz="900">
                <a:solidFill>
                  <a:srgbClr val="4D4D4D"/>
                </a:solidFill>
                <a:latin typeface="AA Zuehlke" pitchFamily="2" charset="0"/>
              </a:defRPr>
            </a:lvl1pPr>
          </a:lstStyle>
          <a:p>
            <a:pPr lvl="0" algn="r"/>
            <a:endParaRPr lang="de-CH" sz="800" kern="1200" spc="20" baseline="0" noProof="1">
              <a:solidFill>
                <a:schemeClr val="tx1"/>
              </a:solidFill>
              <a:latin typeface="AA Zuehlke" pitchFamily="2" charset="0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9DD17BF-08FE-3C56-E88C-20C01D9C62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8000" y="6382800"/>
            <a:ext cx="392400" cy="144000"/>
          </a:xfrm>
          <a:prstGeom prst="rect">
            <a:avLst/>
          </a:prstGeom>
        </p:spPr>
        <p:txBody>
          <a:bodyPr vert="horz" wrap="squar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| </a:t>
            </a:r>
            <a:fld id="{8CF9DE7D-F270-4E16-BA04-5BCA8969A2E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3" name="Titelplatzhalter 1">
            <a:extLst>
              <a:ext uri="{FF2B5EF4-FFF2-40B4-BE49-F238E27FC236}">
                <a16:creationId xmlns:a16="http://schemas.microsoft.com/office/drawing/2014/main" id="{55E6C023-57CA-5B6C-623C-6B87AECA727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19304" y="548720"/>
            <a:ext cx="9072000" cy="43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64" name="Textplatzhalter 2">
            <a:extLst>
              <a:ext uri="{FF2B5EF4-FFF2-40B4-BE49-F238E27FC236}">
                <a16:creationId xmlns:a16="http://schemas.microsoft.com/office/drawing/2014/main" id="{1830FF81-EBFA-814D-9769-DDE6DAD0FFD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619304" y="1628800"/>
            <a:ext cx="10948687" cy="45360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Level 1 (This is body text. </a:t>
            </a:r>
            <a:r>
              <a:rPr lang="en-US" dirty="0"/>
              <a:t>Please use the "Increase List Level" or "Decrease List Level" buttons on the “Home" tab to switch between the predefined text formats such as subheading, body text and bullet points.</a:t>
            </a:r>
            <a:r>
              <a:rPr lang="en-GB" dirty="0"/>
              <a:t>)</a:t>
            </a:r>
          </a:p>
          <a:p>
            <a:pPr lvl="1"/>
            <a:r>
              <a:rPr lang="en-GB" dirty="0"/>
              <a:t>Level 2 (</a:t>
            </a:r>
            <a:r>
              <a:rPr lang="en-US" dirty="0"/>
              <a:t>this is a subheading</a:t>
            </a:r>
            <a:r>
              <a:rPr lang="en-GB" dirty="0"/>
              <a:t>)</a:t>
            </a:r>
          </a:p>
          <a:p>
            <a:pPr lvl="2"/>
            <a:r>
              <a:rPr lang="en-GB" dirty="0"/>
              <a:t>Level 3 (first bullet point level)</a:t>
            </a:r>
          </a:p>
          <a:p>
            <a:pPr lvl="3"/>
            <a:r>
              <a:rPr lang="en-GB" dirty="0"/>
              <a:t>Level 4 (second bullet point level)</a:t>
            </a:r>
          </a:p>
          <a:p>
            <a:pPr lvl="4"/>
            <a:r>
              <a:rPr lang="en-GB" dirty="0"/>
              <a:t>Level 5 (third bullet point level)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57928F-0394-A641-8E3E-2D180F0BE0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flipV="1">
            <a:off x="619304" y="7001378"/>
            <a:ext cx="2743200" cy="3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0F0F0"/>
                </a:solidFill>
              </a:defRPr>
            </a:lvl1pPr>
          </a:lstStyle>
          <a:p>
            <a:fld id="{F7589BDE-D275-48E5-9926-0260C2129B60}" type="datetime1">
              <a:rPr lang="en-US" smtClean="0"/>
              <a:pPr/>
              <a:t>6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1E28BB-B5FE-E965-0E15-F1CED40AB3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V="1">
            <a:off x="3997424" y="7001378"/>
            <a:ext cx="4114800" cy="3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861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3" r:id="rId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 spc="2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200"/>
        </a:spcBef>
        <a:spcAft>
          <a:spcPts val="300"/>
        </a:spcAft>
        <a:buFont typeface="Arial" panose="020B0604020202020204" pitchFamily="34" charset="0"/>
        <a:buNone/>
        <a:defRPr sz="1600" b="0" kern="1200" spc="2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1600"/>
        </a:spcBef>
        <a:spcAft>
          <a:spcPts val="300"/>
        </a:spcAft>
        <a:buFont typeface="Arial" panose="020B0604020202020204" pitchFamily="34" charset="0"/>
        <a:buNone/>
        <a:defRPr sz="1600" kern="1200" spc="20" baseline="0">
          <a:solidFill>
            <a:schemeClr val="tx1"/>
          </a:solidFill>
          <a:latin typeface="+mj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20000"/>
        </a:lnSpc>
        <a:spcBef>
          <a:spcPts val="200"/>
        </a:spcBef>
        <a:spcAft>
          <a:spcPts val="300"/>
        </a:spcAft>
        <a:buFont typeface="Wingdings 2" panose="05020102010507070707" pitchFamily="18" charset="2"/>
        <a:buChar char="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20000"/>
        </a:lnSpc>
        <a:spcBef>
          <a:spcPts val="200"/>
        </a:spcBef>
        <a:spcAft>
          <a:spcPts val="300"/>
        </a:spcAft>
        <a:buFont typeface="Symbol" panose="05050102010706020507" pitchFamily="18" charset="2"/>
        <a:buChar char="-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20000"/>
        </a:lnSpc>
        <a:spcBef>
          <a:spcPts val="200"/>
        </a:spcBef>
        <a:spcAft>
          <a:spcPts val="300"/>
        </a:spcAft>
        <a:buFont typeface="Symbol" panose="05050102010706020507" pitchFamily="18" charset="2"/>
        <a:buChar char="-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5pPr>
      <a:lvl6pPr marL="648000" indent="-216000" algn="l" defTabSz="914400" rtl="0" eaLnBrk="1" latinLnBrk="0" hangingPunct="1">
        <a:lnSpc>
          <a:spcPct val="120000"/>
        </a:lnSpc>
        <a:spcBef>
          <a:spcPts val="200"/>
        </a:spcBef>
        <a:spcAft>
          <a:spcPts val="300"/>
        </a:spcAft>
        <a:buFont typeface="Symbol" panose="05050102010706020507" pitchFamily="18" charset="2"/>
        <a:buChar char="-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6pPr>
      <a:lvl7pPr marL="648000" indent="-216000" algn="l" defTabSz="914400" rtl="0" eaLnBrk="1" latinLnBrk="0" hangingPunct="1">
        <a:lnSpc>
          <a:spcPct val="120000"/>
        </a:lnSpc>
        <a:spcBef>
          <a:spcPts val="200"/>
        </a:spcBef>
        <a:spcAft>
          <a:spcPts val="300"/>
        </a:spcAft>
        <a:buFont typeface="Symbol" panose="05050102010706020507" pitchFamily="18" charset="2"/>
        <a:buChar char="-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7pPr>
      <a:lvl8pPr marL="648000" indent="-216000" algn="l" defTabSz="914400" rtl="0" eaLnBrk="1" latinLnBrk="0" hangingPunct="1">
        <a:lnSpc>
          <a:spcPct val="120000"/>
        </a:lnSpc>
        <a:spcBef>
          <a:spcPts val="200"/>
        </a:spcBef>
        <a:spcAft>
          <a:spcPts val="300"/>
        </a:spcAft>
        <a:buFont typeface="Symbol" panose="05050102010706020507" pitchFamily="18" charset="2"/>
        <a:buChar char="-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20000"/>
        </a:lnSpc>
        <a:spcBef>
          <a:spcPts val="200"/>
        </a:spcBef>
        <a:spcAft>
          <a:spcPts val="300"/>
        </a:spcAft>
        <a:buFont typeface="Symbol" panose="05050102010706020507" pitchFamily="18" charset="2"/>
        <a:buChar char="-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customXml" Target="../../customXml/item8.xml"/><Relationship Id="rId1" Type="http://schemas.openxmlformats.org/officeDocument/2006/relationships/customXml" Target="../../customXml/item9.xml"/><Relationship Id="rId6" Type="http://schemas.openxmlformats.org/officeDocument/2006/relationships/image" Target="../media/image1.bin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AEC10FC-7A0F-F866-CF5A-41A3F57EB48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19304" y="332656"/>
            <a:ext cx="5332064" cy="144016"/>
          </a:xfrm>
        </p:spPr>
        <p:txBody>
          <a:bodyPr/>
          <a:lstStyle/>
          <a:p>
            <a:endParaRPr lang="LID4096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8FAAA41-D1E2-9F9E-4A39-D7DECEF772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4824" y="1196752"/>
            <a:ext cx="4392068" cy="1871663"/>
          </a:xfrm>
        </p:spPr>
        <p:txBody>
          <a:bodyPr/>
          <a:lstStyle/>
          <a:p>
            <a:endParaRPr lang="LID4096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5301A288-F515-5D89-7E2B-0BCB12E4DCBA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614824" y="3355752"/>
            <a:ext cx="4392068" cy="2810098"/>
          </a:xfrm>
        </p:spPr>
        <p:txBody>
          <a:bodyPr/>
          <a:lstStyle/>
          <a:p>
            <a:endParaRPr lang="LID4096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8C361B-DD60-F8C2-48EA-390B121757D2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 flipV="1">
            <a:off x="619304" y="7001378"/>
            <a:ext cx="2743200" cy="3600"/>
          </a:xfrm>
        </p:spPr>
        <p:txBody>
          <a:bodyPr/>
          <a:lstStyle/>
          <a:p>
            <a:fld id="{F7589BDE-D275-48E5-9926-0260C2129B60}" type="datetime1">
              <a:rPr lang="en-US" smtClean="0"/>
              <a:pPr/>
              <a:t>6/2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C45A7DC-4873-DC3E-315C-CE7EE409306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 flipV="1">
            <a:off x="3997424" y="7001378"/>
            <a:ext cx="4114800" cy="3600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FE6FE0-1859-5EDA-04A0-3A45022E6B2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208568" y="6309320"/>
            <a:ext cx="288032" cy="144016"/>
          </a:xfrm>
        </p:spPr>
        <p:txBody>
          <a:bodyPr/>
          <a:lstStyle/>
          <a:p>
            <a:r>
              <a:rPr lang="de-DE"/>
              <a:t>| </a:t>
            </a:r>
            <a:fld id="{8CF9DE7D-F270-4E16-BA04-5BCA8969A2EA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11089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4" hidden="1">
            <a:extLst>
              <a:ext uri="{FF2B5EF4-FFF2-40B4-BE49-F238E27FC236}">
                <a16:creationId xmlns:a16="http://schemas.microsoft.com/office/drawing/2014/main" id="{C73A5A5E-C095-4B4E-8374-13B86E3B245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5" name="Obiekt 4" hidden="1">
                        <a:extLst>
                          <a:ext uri="{FF2B5EF4-FFF2-40B4-BE49-F238E27FC236}">
                            <a16:creationId xmlns:a16="http://schemas.microsoft.com/office/drawing/2014/main" id="{C73A5A5E-C095-4B4E-8374-13B86E3B24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5979FDE0-04B8-4713-A972-FAC351125C2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/>
        <p:txBody>
          <a:bodyPr/>
          <a:lstStyle/>
          <a:p>
            <a:r>
              <a:rPr lang="en-US" dirty="0"/>
              <a:t>Chapter navigation</a:t>
            </a: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D831E132-91BE-492A-8647-6F5489175A5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614824" y="1196752"/>
            <a:ext cx="2528426" cy="1871663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19" name="Untertitel 18">
            <a:extLst>
              <a:ext uri="{FF2B5EF4-FFF2-40B4-BE49-F238E27FC236}">
                <a16:creationId xmlns:a16="http://schemas.microsoft.com/office/drawing/2014/main" id="{7C4342FE-B6AF-40DE-B7DF-FA1BDE69E973}"/>
              </a:ext>
            </a:extLst>
          </p:cNvPr>
          <p:cNvSpPr>
            <a:spLocks noGrp="1"/>
          </p:cNvSpPr>
          <p:nvPr>
            <p:ph type="subTitle" idx="17"/>
          </p:nvPr>
        </p:nvSpPr>
        <p:spPr bwMode="gray">
          <a:xfrm>
            <a:off x="614824" y="3355752"/>
            <a:ext cx="2528426" cy="281009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B897A2F-587D-99AD-AA13-4F4E1FCD1E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  </a:t>
            </a:r>
            <a:fld id="{8FF9B0DE-3FEB-4AA0-B465-B80EF7C1333D}" type="slidenum">
              <a:rPr lang="en-US"/>
              <a:pPr/>
              <a:t>2</a:t>
            </a:fld>
            <a:endParaRPr lang="en-US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7190751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opyr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Zühlke Engineering">
  <a:themeElements>
    <a:clrScheme name="Zühlke final">
      <a:dk1>
        <a:srgbClr val="4D4D4D"/>
      </a:dk1>
      <a:lt1>
        <a:sysClr val="window" lastClr="FFFFFF"/>
      </a:lt1>
      <a:dk2>
        <a:srgbClr val="985B9C"/>
      </a:dk2>
      <a:lt2>
        <a:srgbClr val="666666"/>
      </a:lt2>
      <a:accent1>
        <a:srgbClr val="0099CC"/>
      </a:accent1>
      <a:accent2>
        <a:srgbClr val="66CCFF"/>
      </a:accent2>
      <a:accent3>
        <a:srgbClr val="00CC66"/>
      </a:accent3>
      <a:accent4>
        <a:srgbClr val="CCCCCC"/>
      </a:accent4>
      <a:accent5>
        <a:srgbClr val="8C8C8C"/>
      </a:accent5>
      <a:accent6>
        <a:srgbClr val="CCFF00"/>
      </a:accent6>
      <a:hlink>
        <a:srgbClr val="985B9C"/>
      </a:hlink>
      <a:folHlink>
        <a:srgbClr val="4D4D4D"/>
      </a:folHlink>
    </a:clrScheme>
    <a:fontScheme name="Zuehlke TTF">
      <a:majorFont>
        <a:latin typeface="AA Zuehlke Medium"/>
        <a:ea typeface=""/>
        <a:cs typeface=""/>
      </a:majorFont>
      <a:minorFont>
        <a:latin typeface="AA Zuehlk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6350">
          <a:noFill/>
        </a:ln>
      </a:spPr>
      <a:bodyPr lIns="0" tIns="0" rIns="0" bIns="0" rtlCol="0" anchor="ctr"/>
      <a:lstStyle>
        <a:defPPr algn="ctr">
          <a:lnSpc>
            <a:spcPct val="120000"/>
          </a:lnSpc>
          <a:defRPr sz="1600" spc="2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>
              <a:alpha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216000" indent="-216000" algn="l">
          <a:lnSpc>
            <a:spcPct val="120000"/>
          </a:lnSpc>
          <a:spcBef>
            <a:spcPts val="200"/>
          </a:spcBef>
          <a:spcAft>
            <a:spcPts val="300"/>
          </a:spcAft>
          <a:buFont typeface="Wingdings 2" panose="05020102010507070707" pitchFamily="18" charset="2"/>
          <a:buChar char="¡"/>
          <a:defRPr sz="1600" spc="20" dirty="0" err="1" smtClean="0"/>
        </a:defPPr>
      </a:lstStyle>
    </a:txDef>
  </a:objectDefaults>
  <a:extraClrSchemeLst/>
  <a:custClrLst>
    <a:custClr name="Purple 100">
      <a:srgbClr val="985B9C"/>
    </a:custClr>
    <a:custClr name="Blue 100">
      <a:srgbClr val="0099CC"/>
    </a:custClr>
    <a:custClr name="Bright Blue 100">
      <a:srgbClr val="66CCFF"/>
    </a:custClr>
    <a:custClr name="Green 100">
      <a:srgbClr val="00CC66"/>
    </a:custClr>
    <a:custClr name="Bright Green 100">
      <a:srgbClr val="CCFF00"/>
    </a:custClr>
    <a:custClr name="Light Gray 100">
      <a:srgbClr val="CCCCCC"/>
    </a:custClr>
    <a:custClr name="Dark Gray 100">
      <a:srgbClr val="666666"/>
    </a:custClr>
    <a:custClr name="empty">
      <a:srgbClr val="FFFFFF"/>
    </a:custClr>
    <a:custClr name="empty">
      <a:srgbClr val="FFFFFF"/>
    </a:custClr>
    <a:custClr name="Orange 100">
      <a:srgbClr val="FF9900"/>
    </a:custClr>
    <a:custClr name="Purple 75">
      <a:srgbClr val="B284B5"/>
    </a:custClr>
    <a:custClr name="Blue 75">
      <a:srgbClr val="40B3D9"/>
    </a:custClr>
    <a:custClr name="Bright Blue 75">
      <a:srgbClr val="8CD9FF"/>
    </a:custClr>
    <a:custClr name="Green 75">
      <a:srgbClr val="40D98C"/>
    </a:custClr>
    <a:custClr name="Bright Green 75">
      <a:srgbClr val="D9FF40"/>
    </a:custClr>
    <a:custClr name="Light Gray 75">
      <a:srgbClr val="D9D9D9"/>
    </a:custClr>
    <a:custClr name="Dark Gray 75">
      <a:srgbClr val="8C8C8C"/>
    </a:custClr>
    <a:custClr name="empty">
      <a:srgbClr val="FFFFFF"/>
    </a:custClr>
    <a:custClr name="empty">
      <a:srgbClr val="FFFFFF"/>
    </a:custClr>
    <a:custClr name="Orange 75">
      <a:srgbClr val="FFB340"/>
    </a:custClr>
    <a:custClr name="Purple 50">
      <a:srgbClr val="CBADCD"/>
    </a:custClr>
    <a:custClr name="Blue 50">
      <a:srgbClr val="80CCE5"/>
    </a:custClr>
    <a:custClr name="Bright Blue 50">
      <a:srgbClr val="B2E5FF"/>
    </a:custClr>
    <a:custClr name="Green 50">
      <a:srgbClr val="80E5B2"/>
    </a:custClr>
    <a:custClr name="Bright Green 50">
      <a:srgbClr val="E5FF80"/>
    </a:custClr>
    <a:custClr name="Light Gray 50">
      <a:srgbClr val="E5E5E5"/>
    </a:custClr>
    <a:custClr name="Dark Gray 50">
      <a:srgbClr val="B2B2B2"/>
    </a:custClr>
    <a:custClr name="empty">
      <a:srgbClr val="FFFFFF"/>
    </a:custClr>
    <a:custClr name="empty">
      <a:srgbClr val="FFFFFF"/>
    </a:custClr>
    <a:custClr name="Orange 50">
      <a:srgbClr val="FFCC80"/>
    </a:custClr>
    <a:custClr name="Purple 25">
      <a:srgbClr val="E5D6E6"/>
    </a:custClr>
    <a:custClr name="Blue 25">
      <a:srgbClr val="BFE5F2"/>
    </a:custClr>
    <a:custClr name="Bright Blue 25">
      <a:srgbClr val="D9F2FF"/>
    </a:custClr>
    <a:custClr name="Green 25">
      <a:srgbClr val="BFF2D9"/>
    </a:custClr>
    <a:custClr name="Bright Green 25">
      <a:srgbClr val="F2FFBF"/>
    </a:custClr>
    <a:custClr name="Light Gray 25">
      <a:srgbClr val="F2F2F2"/>
    </a:custClr>
    <a:custClr name="Dark Gray 25">
      <a:srgbClr val="D9D9D9"/>
    </a:custClr>
    <a:custClr name="empty">
      <a:srgbClr val="FFFFFF"/>
    </a:custClr>
    <a:custClr name="empty">
      <a:srgbClr val="FFFFFF"/>
    </a:custClr>
    <a:custClr name="Orange 25">
      <a:srgbClr val="FFE5BF"/>
    </a:custClr>
  </a:custClrLst>
  <a:extLst>
    <a:ext uri="{05A4C25C-085E-4340-85A3-A5531E510DB2}">
      <thm15:themeFamily xmlns:thm15="http://schemas.microsoft.com/office/thememl/2012/main" name="K16_Zuehlke_Master_DE_20220503-VIML0374.potx" id="{3A227FDB-4CFA-47FF-B668-4FB7B4F1D6B7}" vid="{18333380-08C3-43D1-B13D-7707F8736D0D}"/>
    </a:ext>
  </a:extLst>
</a:theme>
</file>

<file path=ppt/theme/theme2.xml><?xml version="1.0" encoding="utf-8"?>
<a:theme xmlns:a="http://schemas.openxmlformats.org/drawingml/2006/main" name="Office">
  <a:themeElements>
    <a:clrScheme name="Zühlke final">
      <a:dk1>
        <a:srgbClr val="4D4D4D"/>
      </a:dk1>
      <a:lt1>
        <a:sysClr val="window" lastClr="FFFFFF"/>
      </a:lt1>
      <a:dk2>
        <a:srgbClr val="985B9C"/>
      </a:dk2>
      <a:lt2>
        <a:srgbClr val="666666"/>
      </a:lt2>
      <a:accent1>
        <a:srgbClr val="0099CC"/>
      </a:accent1>
      <a:accent2>
        <a:srgbClr val="66CCFF"/>
      </a:accent2>
      <a:accent3>
        <a:srgbClr val="00CC66"/>
      </a:accent3>
      <a:accent4>
        <a:srgbClr val="CCCCCC"/>
      </a:accent4>
      <a:accent5>
        <a:srgbClr val="8C8C8C"/>
      </a:accent5>
      <a:accent6>
        <a:srgbClr val="CCFF00"/>
      </a:accent6>
      <a:hlink>
        <a:srgbClr val="985B9C"/>
      </a:hlink>
      <a:folHlink>
        <a:srgbClr val="4D4D4D"/>
      </a:folHlink>
    </a:clrScheme>
    <a:fontScheme name="Zuehlke final">
      <a:majorFont>
        <a:latin typeface="AA Zuehlke Med OTPS"/>
        <a:ea typeface=""/>
        <a:cs typeface=""/>
      </a:majorFont>
      <a:minorFont>
        <a:latin typeface="AA Zuehlke OTP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Zühlke final">
      <a:dk1>
        <a:srgbClr val="4D4D4D"/>
      </a:dk1>
      <a:lt1>
        <a:sysClr val="window" lastClr="FFFFFF"/>
      </a:lt1>
      <a:dk2>
        <a:srgbClr val="985B9C"/>
      </a:dk2>
      <a:lt2>
        <a:srgbClr val="666666"/>
      </a:lt2>
      <a:accent1>
        <a:srgbClr val="0099CC"/>
      </a:accent1>
      <a:accent2>
        <a:srgbClr val="66CCFF"/>
      </a:accent2>
      <a:accent3>
        <a:srgbClr val="00CC66"/>
      </a:accent3>
      <a:accent4>
        <a:srgbClr val="CCCCCC"/>
      </a:accent4>
      <a:accent5>
        <a:srgbClr val="8C8C8C"/>
      </a:accent5>
      <a:accent6>
        <a:srgbClr val="CCFF00"/>
      </a:accent6>
      <a:hlink>
        <a:srgbClr val="985B9C"/>
      </a:hlink>
      <a:folHlink>
        <a:srgbClr val="4D4D4D"/>
      </a:folHlink>
    </a:clrScheme>
    <a:fontScheme name="Zuehlke final">
      <a:majorFont>
        <a:latin typeface="AA Zuehlke Med OTPS"/>
        <a:ea typeface=""/>
        <a:cs typeface=""/>
      </a:majorFont>
      <a:minorFont>
        <a:latin typeface="AA Zuehlke OTP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604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6232E1F3-ADD9-491C-A9C6-538FAB19B2F8}">
  <we:reference id="0e48f2e1-20a7-4a2f-a7f4-a6e2cfec8357" version="1.0.0.7" store="\\SES-LAPTOP\Addins3" storeType="Filesystem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TaxCatchAll xmlns="22a3f1e7-1ad8-4567-967d-700183da1d1b" xsi:nil="true"/>
    <lcf76f155ced4ddcb4097134ff3c332f xmlns="aacb7df8-672f-46f2-977f-893ce5cef86b">
      <Terms xmlns="http://schemas.microsoft.com/office/infopath/2007/PartnerControls"/>
    </lcf76f155ced4ddcb4097134ff3c332f>
    <_ip_UnifiedCompliancePolicyProperties xmlns="http://schemas.microsoft.com/sharepoint/v3" xsi:nil="true"/>
  </documentManagement>
</p:properties>
</file>

<file path=customXml/item2.xml><?xml version="1.0" encoding="utf-8"?>
<TemplafyFormConfiguration><![CDATA[{"formFields":[{"type":"textBox","label":"Title of the presentation","name":"Title","helpTexts":null,"locked":false,"spacing":null,"defaultValue":null,"lines":1,"placeholder":"","required":false,"maxLength":null,"shareValue":false},{"type":"textBox","label":"Subtitle of the presentation","name":"Subline","helpTexts":null,"locked":false,"spacing":null,"defaultValue":null,"lines":1,"placeholder":"","required":false,"maxLength":null,"shareValue":false},{"type":"datePicker","label":"Date","name":"Date","helpTexts":null,"locked":false,"spacing":null,"required":true},{"type":"dropDown","label":"Privacy","name":"Privacy_Information","helpTexts":null,"locked":false,"spacing":null,"autoSelectFirstOption":false,"dataSourceFieldName":"PrivacyInformation","dataSourceName":"PrivacyInformation","defaultValue":null,"filterByFieldName":null,"filterCondition":null,"required":true,"filterBySource":null,"distinct":false,"hideIfNoUserInteractionRequired":false,"shareValue":false}],"formDataEntries":[]}]]></TemplafyFormConfiguration>
</file>

<file path=customXml/item3.xml><?xml version="1.0" encoding="utf-8"?>
<TemplafyTemplateConfiguration><![CDATA[{"elementsMetadata":[],"transformationConfigurations":[{"language":"{{UserProfile.DocumentLanguage.Language.Language}}","type":"proofingLanguage"}],"enableDocumentContentUpdater":true,"version":"2.0"}]]></TemplafyTemplateConfiguration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3CCF29AC71D4428C978BA42A6A441C" ma:contentTypeVersion="34" ma:contentTypeDescription="Een nieuw document maken." ma:contentTypeScope="" ma:versionID="7d158b9b3fd3ec60989cb2b3e32d5771">
  <xsd:schema xmlns:xsd="http://www.w3.org/2001/XMLSchema" xmlns:xs="http://www.w3.org/2001/XMLSchema" xmlns:p="http://schemas.microsoft.com/office/2006/metadata/properties" xmlns:ns1="http://schemas.microsoft.com/sharepoint/v3" xmlns:ns2="aacb7df8-672f-46f2-977f-893ce5cef86b" xmlns:ns3="22a3f1e7-1ad8-4567-967d-700183da1d1b" targetNamespace="http://schemas.microsoft.com/office/2006/metadata/properties" ma:root="true" ma:fieldsID="b2ea9b1e2fb62c990773d12b5caa2323" ns1:_="" ns2:_="" ns3:_="">
    <xsd:import namespace="http://schemas.microsoft.com/sharepoint/v3"/>
    <xsd:import namespace="aacb7df8-672f-46f2-977f-893ce5cef86b"/>
    <xsd:import namespace="22a3f1e7-1ad8-4567-967d-700183da1d1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8" nillable="true" ma:displayName="Eigenschappen van het geïntegreerd beleid voor naleving" ma:hidden="true" ma:internalName="_ip_UnifiedCompliancePolicyProperties">
      <xsd:simpleType>
        <xsd:restriction base="dms:Note"/>
      </xsd:simpleType>
    </xsd:element>
    <xsd:element name="_ip_UnifiedCompliancePolicyUIAction" ma:index="19" nillable="true" ma:displayName="Actie van de gebruikersinterface van het geïntegreerd beleid voor naleving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cb7df8-672f-46f2-977f-893ce5cef86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Afbeeldingtags" ma:readOnly="false" ma:fieldId="{5cf76f15-5ced-4ddc-b409-7134ff3c332f}" ma:taxonomyMulti="true" ma:sspId="abf9d911-60e3-4694-aed6-bc66dbc4cb5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a3f1e7-1ad8-4567-967d-700183da1d1b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91fdf702-cf53-40c8-8dde-89d267aa3274}" ma:internalName="TaxCatchAll" ma:showField="CatchAllData" ma:web="22a3f1e7-1ad8-4567-967d-700183da1d1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TemplateConfiguration><![CDATA[{"slideVersion":1,"isValidatorEnabled":false,"isLocked":false,"elementsMetadata":[],"slideId":"637921038709047716","enableDocumentContentUpdater":false,"version":"2.0"}]]></TemplafySlideTemplateConfiguration>
</file>

<file path=customXml/item8.xml><?xml version="1.0" encoding="utf-8"?>
<TemplafySlideTemplateConfiguration><![CDATA[{"slideVersion":1,"isValidatorEnabled":false,"isLocked":false,"elementsMetadata":[],"slideId":"637921038709057216","enableDocumentContentUpdater":false,"version":"2.0"}]]></TemplafySlideTemplate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D19BEC73-69CB-414A-A7BE-653B795EEE32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22a3f1e7-1ad8-4567-967d-700183da1d1b"/>
    <ds:schemaRef ds:uri="aacb7df8-672f-46f2-977f-893ce5cef86b"/>
  </ds:schemaRefs>
</ds:datastoreItem>
</file>

<file path=customXml/itemProps2.xml><?xml version="1.0" encoding="utf-8"?>
<ds:datastoreItem xmlns:ds="http://schemas.openxmlformats.org/officeDocument/2006/customXml" ds:itemID="{A0CB3283-4520-48D0-9091-1EFB3339413D}">
  <ds:schemaRefs/>
</ds:datastoreItem>
</file>

<file path=customXml/itemProps3.xml><?xml version="1.0" encoding="utf-8"?>
<ds:datastoreItem xmlns:ds="http://schemas.openxmlformats.org/officeDocument/2006/customXml" ds:itemID="{28C85CB8-C4E2-42B6-9E95-8E3EDB1A7CC4}">
  <ds:schemaRefs/>
</ds:datastoreItem>
</file>

<file path=customXml/itemProps4.xml><?xml version="1.0" encoding="utf-8"?>
<ds:datastoreItem xmlns:ds="http://schemas.openxmlformats.org/officeDocument/2006/customXml" ds:itemID="{D248F8DB-9E28-4225-8775-E011E29A2C0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acb7df8-672f-46f2-977f-893ce5cef86b"/>
    <ds:schemaRef ds:uri="22a3f1e7-1ad8-4567-967d-700183da1d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5.xml><?xml version="1.0" encoding="utf-8"?>
<ds:datastoreItem xmlns:ds="http://schemas.openxmlformats.org/officeDocument/2006/customXml" ds:itemID="{D76696FF-6F99-4BF8-BD28-5EEAF2578D78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F05EAA7F-7C44-4B73-A336-CB6385CDC890}">
  <ds:schemaRefs/>
</ds:datastoreItem>
</file>

<file path=customXml/itemProps7.xml><?xml version="1.0" encoding="utf-8"?>
<ds:datastoreItem xmlns:ds="http://schemas.openxmlformats.org/officeDocument/2006/customXml" ds:itemID="{13F54403-8217-4B8C-940E-E44B48F6D647}">
  <ds:schemaRefs/>
</ds:datastoreItem>
</file>

<file path=customXml/itemProps8.xml><?xml version="1.0" encoding="utf-8"?>
<ds:datastoreItem xmlns:ds="http://schemas.openxmlformats.org/officeDocument/2006/customXml" ds:itemID="{4E337CE1-E61C-48FC-B1F5-9EA38DCCEFAC}">
  <ds:schemaRefs/>
</ds:datastoreItem>
</file>

<file path=customXml/itemProps9.xml><?xml version="1.0" encoding="utf-8"?>
<ds:datastoreItem xmlns:ds="http://schemas.openxmlformats.org/officeDocument/2006/customXml" ds:itemID="{219BCFE4-9557-40D1-A129-ED3C7AC1955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16_Zuehlke_Master_DE_20220503-VIML0374</Template>
  <TotalTime>75</TotalTime>
  <Words>8</Words>
  <Application>Microsoft Office PowerPoint</Application>
  <PresentationFormat>Widescreen</PresentationFormat>
  <Paragraphs>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A Zuehlke</vt:lpstr>
      <vt:lpstr>AA Zuehlke Medium</vt:lpstr>
      <vt:lpstr>Arial</vt:lpstr>
      <vt:lpstr>Symbol</vt:lpstr>
      <vt:lpstr>Wingdings 2</vt:lpstr>
      <vt:lpstr>Zühlke Engineering</vt:lpstr>
      <vt:lpstr>think-cell Folie</vt:lpstr>
      <vt:lpstr>PowerPoint Presentation</vt:lpstr>
      <vt:lpstr>Agend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arlotte Knaupp</dc:creator>
  <dc:description/>
  <cp:lastModifiedBy>Sergey Sokur</cp:lastModifiedBy>
  <cp:revision>15</cp:revision>
  <dcterms:created xsi:type="dcterms:W3CDTF">2022-05-12T09:35:22Z</dcterms:created>
  <dcterms:modified xsi:type="dcterms:W3CDTF">2022-06-29T13:13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3CCF29AC71D4428C978BA42A6A441C</vt:lpwstr>
  </property>
  <property fmtid="{D5CDD505-2E9C-101B-9397-08002B2CF9AE}" pid="3" name="MediaServiceImageTags">
    <vt:lpwstr/>
  </property>
  <property fmtid="{D5CDD505-2E9C-101B-9397-08002B2CF9AE}" pid="4" name="TemplafyTimeStamp">
    <vt:lpwstr>2022-06-09T12:00:33</vt:lpwstr>
  </property>
</Properties>
</file>